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9.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2" r:id="rId4"/>
    <p:sldMasterId id="2147484024" r:id="rId5"/>
    <p:sldMasterId id="2147484036" r:id="rId6"/>
    <p:sldMasterId id="2147484045" r:id="rId7"/>
    <p:sldMasterId id="2147484066" r:id="rId8"/>
    <p:sldMasterId id="2147484078" r:id="rId9"/>
    <p:sldMasterId id="2147484080" r:id="rId10"/>
    <p:sldMasterId id="2147484082" r:id="rId11"/>
    <p:sldMasterId id="2147484094" r:id="rId12"/>
    <p:sldMasterId id="2147484122" r:id="rId13"/>
  </p:sldMasterIdLst>
  <p:notesMasterIdLst>
    <p:notesMasterId r:id="rId49"/>
  </p:notesMasterIdLst>
  <p:handoutMasterIdLst>
    <p:handoutMasterId r:id="rId50"/>
  </p:handoutMasterIdLst>
  <p:sldIdLst>
    <p:sldId id="663" r:id="rId14"/>
    <p:sldId id="656" r:id="rId15"/>
    <p:sldId id="667" r:id="rId16"/>
    <p:sldId id="669" r:id="rId17"/>
    <p:sldId id="668" r:id="rId18"/>
    <p:sldId id="658" r:id="rId19"/>
    <p:sldId id="660" r:id="rId20"/>
    <p:sldId id="653" r:id="rId21"/>
    <p:sldId id="662" r:id="rId22"/>
    <p:sldId id="695" r:id="rId23"/>
    <p:sldId id="702" r:id="rId24"/>
    <p:sldId id="696" r:id="rId25"/>
    <p:sldId id="699" r:id="rId26"/>
    <p:sldId id="701" r:id="rId27"/>
    <p:sldId id="689" r:id="rId28"/>
    <p:sldId id="694" r:id="rId29"/>
    <p:sldId id="691" r:id="rId30"/>
    <p:sldId id="700" r:id="rId31"/>
    <p:sldId id="692" r:id="rId32"/>
    <p:sldId id="690" r:id="rId33"/>
    <p:sldId id="697" r:id="rId34"/>
    <p:sldId id="693" r:id="rId35"/>
    <p:sldId id="671" r:id="rId36"/>
    <p:sldId id="673" r:id="rId37"/>
    <p:sldId id="683" r:id="rId38"/>
    <p:sldId id="674" r:id="rId39"/>
    <p:sldId id="680" r:id="rId40"/>
    <p:sldId id="675" r:id="rId41"/>
    <p:sldId id="684" r:id="rId42"/>
    <p:sldId id="687" r:id="rId43"/>
    <p:sldId id="688" r:id="rId44"/>
    <p:sldId id="686" r:id="rId45"/>
    <p:sldId id="685" r:id="rId46"/>
    <p:sldId id="631" r:id="rId47"/>
    <p:sldId id="651" r:id="rId48"/>
  </p:sldIdLst>
  <p:sldSz cx="12188825" cy="6858000"/>
  <p:notesSz cx="6858000" cy="9144000"/>
  <p:defaultTex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89E05460-2C0A-474D-ACEC-8FB5DA01E984}">
          <p14:sldIdLst/>
        </p14:section>
        <p14:section name="Introductie" id="{8323C272-2BE1-41F2-AB2D-08B7111C25F6}">
          <p14:sldIdLst>
            <p14:sldId id="663"/>
            <p14:sldId id="656"/>
            <p14:sldId id="667"/>
            <p14:sldId id="669"/>
            <p14:sldId id="668"/>
            <p14:sldId id="658"/>
            <p14:sldId id="660"/>
          </p14:sldIdLst>
        </p14:section>
        <p14:section name="GDPR en Microsoft" id="{CC7E2681-242E-4985-90EC-704F11E9CF93}">
          <p14:sldIdLst>
            <p14:sldId id="653"/>
            <p14:sldId id="662"/>
          </p14:sldIdLst>
        </p14:section>
        <p14:section name="Jurgen" id="{FED4AD28-A48D-4AA6-9EF0-2C8963CA450C}">
          <p14:sldIdLst>
            <p14:sldId id="695"/>
            <p14:sldId id="702"/>
            <p14:sldId id="696"/>
            <p14:sldId id="699"/>
            <p14:sldId id="701"/>
            <p14:sldId id="689"/>
            <p14:sldId id="694"/>
            <p14:sldId id="691"/>
            <p14:sldId id="700"/>
            <p14:sldId id="692"/>
            <p14:sldId id="690"/>
            <p14:sldId id="697"/>
            <p14:sldId id="693"/>
          </p14:sldIdLst>
        </p14:section>
        <p14:section name="Albert" id="{22F49DBE-8669-49C4-ABA5-6B51D5750BA9}">
          <p14:sldIdLst>
            <p14:sldId id="671"/>
            <p14:sldId id="673"/>
            <p14:sldId id="683"/>
            <p14:sldId id="674"/>
            <p14:sldId id="680"/>
            <p14:sldId id="675"/>
            <p14:sldId id="684"/>
            <p14:sldId id="687"/>
            <p14:sldId id="688"/>
            <p14:sldId id="686"/>
            <p14:sldId id="685"/>
          </p14:sldIdLst>
        </p14:section>
        <p14:section name="Afronding" id="{282769EE-2313-4604-9201-9733A5E7E645}">
          <p14:sldIdLst>
            <p14:sldId id="631"/>
            <p14:sldId id="651"/>
          </p14:sldIdLst>
        </p14:section>
      </p14:sectionLst>
    </p:ext>
    <p:ext uri="{EFAFB233-063F-42B5-8137-9DF3F51BA10A}">
      <p15:sldGuideLst xmlns:p15="http://schemas.microsoft.com/office/powerpoint/2012/main">
        <p15:guide id="1" orient="horz" pos="2160">
          <p15:clr>
            <a:srgbClr val="A4A3A4"/>
          </p15:clr>
        </p15:guide>
        <p15:guide id="2" pos="383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3C00"/>
    <a:srgbClr val="EC5038"/>
    <a:srgbClr val="FFFFFF"/>
    <a:srgbClr val="DDF0F5"/>
    <a:srgbClr val="00317B"/>
    <a:srgbClr val="F2F2F2"/>
    <a:srgbClr val="004BBB"/>
    <a:srgbClr val="969696"/>
    <a:srgbClr val="00205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39" autoAdjust="0"/>
    <p:restoredTop sz="94823" autoAdjust="0"/>
  </p:normalViewPr>
  <p:slideViewPr>
    <p:cSldViewPr snapToObjects="1" showGuides="1">
      <p:cViewPr varScale="1">
        <p:scale>
          <a:sx n="70" d="100"/>
          <a:sy n="70" d="100"/>
        </p:scale>
        <p:origin x="66" y="702"/>
      </p:cViewPr>
      <p:guideLst>
        <p:guide orient="horz" pos="2160"/>
        <p:guide pos="3839"/>
      </p:guideLst>
    </p:cSldViewPr>
  </p:slideViewPr>
  <p:outlineViewPr>
    <p:cViewPr>
      <p:scale>
        <a:sx n="33" d="100"/>
        <a:sy n="33" d="100"/>
      </p:scale>
      <p:origin x="0" y="0"/>
    </p:cViewPr>
  </p:outlineViewPr>
  <p:notesTextViewPr>
    <p:cViewPr>
      <p:scale>
        <a:sx n="3" d="2"/>
        <a:sy n="3" d="2"/>
      </p:scale>
      <p:origin x="0" y="0"/>
    </p:cViewPr>
  </p:notesTextViewPr>
  <p:sorterViewPr>
    <p:cViewPr>
      <p:scale>
        <a:sx n="69" d="100"/>
        <a:sy n="69" d="100"/>
      </p:scale>
      <p:origin x="0" y="0"/>
    </p:cViewPr>
  </p:sorterViewPr>
  <p:notesViewPr>
    <p:cSldViewPr snapToObjects="1">
      <p:cViewPr varScale="1">
        <p:scale>
          <a:sx n="98" d="100"/>
          <a:sy n="98" d="100"/>
        </p:scale>
        <p:origin x="2658"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74383C-E30C-4C39-90AB-38FE6CB48DE8}" type="datetimeFigureOut">
              <a:rPr lang="en-US" smtClean="0"/>
              <a:t>1/18/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B3B5BF-9571-4DD3-9F54-EA710EA0BDFF}" type="slidenum">
              <a:rPr lang="en-US" smtClean="0"/>
              <a:t>‹#›</a:t>
            </a:fld>
            <a:endParaRPr lang="en-US" dirty="0"/>
          </a:p>
        </p:txBody>
      </p:sp>
    </p:spTree>
    <p:extLst>
      <p:ext uri="{BB962C8B-B14F-4D97-AF65-F5344CB8AC3E}">
        <p14:creationId xmlns:p14="http://schemas.microsoft.com/office/powerpoint/2010/main" val="41222187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9"/>
          <p:cNvSpPr>
            <a:spLocks noGrp="1" noChangeArrowheads="1"/>
          </p:cNvSpPr>
          <p:nvPr>
            <p:ph type="body" sz="quarter" idx="3"/>
          </p:nvPr>
        </p:nvSpPr>
        <p:spPr bwMode="auto">
          <a:xfrm>
            <a:off x="196260" y="2348286"/>
            <a:ext cx="6506122" cy="6469501"/>
          </a:xfrm>
          <a:prstGeom prst="rect">
            <a:avLst/>
          </a:prstGeom>
          <a:noFill/>
          <a:ln w="9525">
            <a:noFill/>
            <a:miter lim="800000"/>
            <a:headEnd/>
            <a:tailEnd/>
          </a:ln>
          <a:effectLst/>
        </p:spPr>
        <p:txBody>
          <a:bodyPr vert="horz" wrap="square" lIns="95096" tIns="47549" rIns="95096" bIns="4754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Box 12"/>
          <p:cNvSpPr txBox="1">
            <a:spLocks noChangeArrowheads="1"/>
          </p:cNvSpPr>
          <p:nvPr/>
        </p:nvSpPr>
        <p:spPr bwMode="auto">
          <a:xfrm>
            <a:off x="123103" y="2029902"/>
            <a:ext cx="2604400" cy="278901"/>
          </a:xfrm>
          <a:prstGeom prst="rect">
            <a:avLst/>
          </a:prstGeom>
          <a:noFill/>
          <a:ln w="9525" algn="ctr">
            <a:noFill/>
            <a:miter lim="800000"/>
            <a:headEnd/>
            <a:tailEnd/>
          </a:ln>
          <a:effectLst/>
        </p:spPr>
        <p:txBody>
          <a:bodyPr lIns="93324" tIns="46662" rIns="93324" bIns="46662">
            <a:spAutoFit/>
          </a:bodyPr>
          <a:lstStyle/>
          <a:p>
            <a:pPr algn="l" eaLnBrk="0" hangingPunct="0">
              <a:spcBef>
                <a:spcPct val="50000"/>
              </a:spcBef>
              <a:defRPr/>
            </a:pPr>
            <a:r>
              <a:rPr lang="en-US" sz="1200" dirty="0">
                <a:effectLst/>
                <a:latin typeface="Segoe UI Light" pitchFamily="34" charset="0"/>
              </a:rPr>
              <a:t>Slide Notes:</a:t>
            </a:r>
          </a:p>
        </p:txBody>
      </p:sp>
      <p:sp>
        <p:nvSpPr>
          <p:cNvPr id="10" name="Line 13"/>
          <p:cNvSpPr>
            <a:spLocks noChangeShapeType="1"/>
          </p:cNvSpPr>
          <p:nvPr/>
        </p:nvSpPr>
        <p:spPr bwMode="auto">
          <a:xfrm>
            <a:off x="202763" y="2269093"/>
            <a:ext cx="6530508" cy="0"/>
          </a:xfrm>
          <a:prstGeom prst="line">
            <a:avLst/>
          </a:prstGeom>
          <a:noFill/>
          <a:ln w="9525">
            <a:solidFill>
              <a:schemeClr val="accent6"/>
            </a:solidFill>
            <a:round/>
            <a:headEnd/>
            <a:tailEnd/>
          </a:ln>
          <a:effectLst/>
        </p:spPr>
        <p:txBody>
          <a:bodyPr wrap="none" lIns="93324" tIns="46662" rIns="93324" bIns="46662">
            <a:spAutoFit/>
          </a:bodyPr>
          <a:lstStyle/>
          <a:p>
            <a:pPr>
              <a:defRPr/>
            </a:pPr>
            <a:endParaRPr lang="en-US" dirty="0">
              <a:latin typeface="Arial" pitchFamily="34" charset="0"/>
            </a:endParaRPr>
          </a:p>
        </p:txBody>
      </p:sp>
      <p:sp>
        <p:nvSpPr>
          <p:cNvPr id="11" name="Text Box 14"/>
          <p:cNvSpPr txBox="1">
            <a:spLocks noChangeArrowheads="1"/>
          </p:cNvSpPr>
          <p:nvPr/>
        </p:nvSpPr>
        <p:spPr bwMode="auto">
          <a:xfrm>
            <a:off x="124728" y="849673"/>
            <a:ext cx="3185955" cy="402012"/>
          </a:xfrm>
          <a:prstGeom prst="rect">
            <a:avLst/>
          </a:prstGeom>
          <a:noFill/>
          <a:ln w="9525" algn="ctr">
            <a:noFill/>
            <a:miter lim="800000"/>
            <a:headEnd/>
            <a:tailEnd/>
          </a:ln>
          <a:effectLst/>
        </p:spPr>
        <p:txBody>
          <a:bodyPr wrap="square" lIns="93324" tIns="46662" rIns="93324" bIns="46662">
            <a:spAutoFit/>
          </a:bodyPr>
          <a:lstStyle/>
          <a:p>
            <a:pPr algn="l" eaLnBrk="0" hangingPunct="0">
              <a:spcBef>
                <a:spcPts val="0"/>
              </a:spcBef>
              <a:defRPr/>
            </a:pPr>
            <a:r>
              <a:rPr lang="en-US" sz="2000" b="0" i="0" dirty="0">
                <a:solidFill>
                  <a:schemeClr val="tx1"/>
                </a:solidFill>
                <a:effectLst/>
                <a:latin typeface="Segoe UI Light" pitchFamily="34" charset="0"/>
                <a:cs typeface="Arial" pitchFamily="34" charset="0"/>
              </a:rPr>
              <a:t>Microsoft</a:t>
            </a:r>
            <a:r>
              <a:rPr lang="en-US" sz="2000" b="0" i="0" baseline="0" dirty="0">
                <a:solidFill>
                  <a:schemeClr val="tx1"/>
                </a:solidFill>
                <a:effectLst/>
                <a:latin typeface="Segoe UI Light" pitchFamily="34" charset="0"/>
                <a:cs typeface="Arial" pitchFamily="34" charset="0"/>
              </a:rPr>
              <a:t> in the Enterprise</a:t>
            </a:r>
            <a:endParaRPr lang="en-US" sz="2000" b="0" i="1" dirty="0">
              <a:solidFill>
                <a:schemeClr val="tx1"/>
              </a:solidFill>
              <a:effectLst/>
              <a:latin typeface="Segoe UI Light" pitchFamily="34" charset="0"/>
              <a:cs typeface="Arial" pitchFamily="34" charset="0"/>
            </a:endParaRPr>
          </a:p>
        </p:txBody>
      </p:sp>
      <p:sp>
        <p:nvSpPr>
          <p:cNvPr id="12" name="Slide Number Placeholder 14"/>
          <p:cNvSpPr>
            <a:spLocks noGrp="1"/>
          </p:cNvSpPr>
          <p:nvPr>
            <p:ph type="sldNum" sz="quarter" idx="5"/>
          </p:nvPr>
        </p:nvSpPr>
        <p:spPr>
          <a:xfrm>
            <a:off x="6260187" y="8900371"/>
            <a:ext cx="466581" cy="254385"/>
          </a:xfrm>
          <a:prstGeom prst="rect">
            <a:avLst/>
          </a:prstGeom>
        </p:spPr>
        <p:txBody>
          <a:bodyPr vert="horz" lIns="93324" tIns="46662" rIns="93324" bIns="46662" rtlCol="0" anchor="b"/>
          <a:lstStyle>
            <a:lvl1pPr algn="r">
              <a:defRPr sz="1000">
                <a:latin typeface="Segoe UI Light" pitchFamily="34" charset="0"/>
                <a:cs typeface="Arial" pitchFamily="34" charset="0"/>
              </a:defRPr>
            </a:lvl1pPr>
          </a:lstStyle>
          <a:p>
            <a:fld id="{A5B258F2-B2E5-4175-B339-81AEE5988F5F}" type="slidenum">
              <a:rPr lang="en-US" smtClean="0"/>
              <a:pPr/>
              <a:t>‹#›</a:t>
            </a:fld>
            <a:endParaRPr lang="en-US" dirty="0"/>
          </a:p>
        </p:txBody>
      </p:sp>
      <p:sp>
        <p:nvSpPr>
          <p:cNvPr id="13" name="TextBox 12"/>
          <p:cNvSpPr txBox="1"/>
          <p:nvPr/>
        </p:nvSpPr>
        <p:spPr>
          <a:xfrm>
            <a:off x="101968" y="8933563"/>
            <a:ext cx="5698300" cy="188000"/>
          </a:xfrm>
          <a:prstGeom prst="rect">
            <a:avLst/>
          </a:prstGeom>
          <a:noFill/>
        </p:spPr>
        <p:txBody>
          <a:bodyPr wrap="none" lIns="93324" tIns="46662" rIns="93324" bIns="46662" rtlCol="0">
            <a:spAutoFit/>
          </a:bodyPr>
          <a:lstStyle/>
          <a:p>
            <a:pPr marL="0" marR="0" indent="0" algn="l" defTabSz="466618" rtl="0" eaLnBrk="1" fontAlgn="auto" latinLnBrk="0" hangingPunct="1">
              <a:lnSpc>
                <a:spcPct val="100000"/>
              </a:lnSpc>
              <a:spcBef>
                <a:spcPts val="0"/>
              </a:spcBef>
              <a:spcAft>
                <a:spcPts val="0"/>
              </a:spcAft>
              <a:buClrTx/>
              <a:buSzTx/>
              <a:buFontTx/>
              <a:buNone/>
              <a:tabLst/>
              <a:defRPr/>
            </a:pPr>
            <a:r>
              <a:rPr lang="en-NZ" sz="600" dirty="0">
                <a:latin typeface="Segoe UI Light" pitchFamily="34" charset="0"/>
                <a:cs typeface="Arial" pitchFamily="34" charset="0"/>
              </a:rPr>
              <a:t>© 2012 Microsoft Corporation. This presentation is for informational purposes only. MICROSOFT MAKES NO WARRANTIES, EXPRESS OR IMPLIED, IN THIS SUMMARY. </a:t>
            </a:r>
            <a:endParaRPr lang="en-US" sz="600" dirty="0">
              <a:solidFill>
                <a:srgbClr val="000000"/>
              </a:solidFill>
              <a:latin typeface="Segoe UI Light" pitchFamily="34" charset="0"/>
              <a:cs typeface="Arial" pitchFamily="34" charset="0"/>
            </a:endParaRPr>
          </a:p>
        </p:txBody>
      </p:sp>
      <p:sp>
        <p:nvSpPr>
          <p:cNvPr id="14" name="Slide Image Placeholder 15"/>
          <p:cNvSpPr>
            <a:spLocks noGrp="1" noRot="1" noChangeAspect="1"/>
          </p:cNvSpPr>
          <p:nvPr>
            <p:ph type="sldImg" idx="2"/>
          </p:nvPr>
        </p:nvSpPr>
        <p:spPr>
          <a:xfrm>
            <a:off x="3479800" y="233363"/>
            <a:ext cx="3243263" cy="1825625"/>
          </a:xfrm>
          <a:prstGeom prst="rect">
            <a:avLst/>
          </a:prstGeom>
          <a:noFill/>
          <a:ln w="12700">
            <a:solidFill>
              <a:schemeClr val="accent6"/>
            </a:solidFill>
          </a:ln>
        </p:spPr>
        <p:txBody>
          <a:bodyPr vert="horz" lIns="93324" tIns="46662" rIns="93324" bIns="46662" rtlCol="0" anchor="ctr"/>
          <a:lstStyle/>
          <a:p>
            <a:endParaRPr lang="en-US" dirty="0"/>
          </a:p>
        </p:txBody>
      </p:sp>
    </p:spTree>
    <p:extLst>
      <p:ext uri="{BB962C8B-B14F-4D97-AF65-F5344CB8AC3E}">
        <p14:creationId xmlns:p14="http://schemas.microsoft.com/office/powerpoint/2010/main" val="839440964"/>
      </p:ext>
    </p:extLst>
  </p:cSld>
  <p:clrMap bg1="lt1" tx1="dk1" bg2="lt2" tx2="dk2" accent1="accent1" accent2="accent2" accent3="accent3" accent4="accent4" accent5="accent5" accent6="accent6" hlink="hlink" folHlink="folHlink"/>
  <p:notesStyle>
    <a:lvl1pPr marL="0" algn="l" defTabSz="761787" rtl="0" eaLnBrk="1" latinLnBrk="0" hangingPunct="1">
      <a:defRPr sz="700" kern="1200">
        <a:solidFill>
          <a:schemeClr val="tx1"/>
        </a:solidFill>
        <a:latin typeface="Arial" pitchFamily="34" charset="0"/>
        <a:ea typeface="+mn-ea"/>
        <a:cs typeface="Arial" pitchFamily="34" charset="0"/>
      </a:defRPr>
    </a:lvl1pPr>
    <a:lvl2pPr marL="380893" algn="l" defTabSz="761787" rtl="0" eaLnBrk="1" latinLnBrk="0" hangingPunct="1">
      <a:defRPr sz="700" kern="1200">
        <a:solidFill>
          <a:schemeClr val="tx1"/>
        </a:solidFill>
        <a:latin typeface="Arial" pitchFamily="34" charset="0"/>
        <a:ea typeface="+mn-ea"/>
        <a:cs typeface="Arial" pitchFamily="34" charset="0"/>
      </a:defRPr>
    </a:lvl2pPr>
    <a:lvl3pPr marL="761787" algn="l" defTabSz="761787" rtl="0" eaLnBrk="1" latinLnBrk="0" hangingPunct="1">
      <a:defRPr sz="700" kern="1200">
        <a:solidFill>
          <a:schemeClr val="tx1"/>
        </a:solidFill>
        <a:latin typeface="Arial" pitchFamily="34" charset="0"/>
        <a:ea typeface="+mn-ea"/>
        <a:cs typeface="Arial" pitchFamily="34" charset="0"/>
      </a:defRPr>
    </a:lvl3pPr>
    <a:lvl4pPr marL="1142680" algn="l" defTabSz="761787" rtl="0" eaLnBrk="1" latinLnBrk="0" hangingPunct="1">
      <a:defRPr sz="700" kern="1200">
        <a:solidFill>
          <a:schemeClr val="tx1"/>
        </a:solidFill>
        <a:latin typeface="Arial" pitchFamily="34" charset="0"/>
        <a:ea typeface="+mn-ea"/>
        <a:cs typeface="Arial" pitchFamily="34" charset="0"/>
      </a:defRPr>
    </a:lvl4pPr>
    <a:lvl5pPr marL="1523573" algn="l" defTabSz="761787" rtl="0" eaLnBrk="1" latinLnBrk="0" hangingPunct="1">
      <a:defRPr sz="700" kern="1200">
        <a:solidFill>
          <a:schemeClr val="tx1"/>
        </a:solidFill>
        <a:latin typeface="Arial" pitchFamily="34" charset="0"/>
        <a:ea typeface="+mn-ea"/>
        <a:cs typeface="Arial" pitchFamily="34" charset="0"/>
      </a:defRPr>
    </a:lvl5pPr>
    <a:lvl6pPr marL="1904467" algn="l" defTabSz="761787" rtl="0" eaLnBrk="1" latinLnBrk="0" hangingPunct="1">
      <a:defRPr sz="1000" kern="1200">
        <a:solidFill>
          <a:schemeClr val="tx1"/>
        </a:solidFill>
        <a:latin typeface="+mn-lt"/>
        <a:ea typeface="+mn-ea"/>
        <a:cs typeface="+mn-cs"/>
      </a:defRPr>
    </a:lvl6pPr>
    <a:lvl7pPr marL="2285360" algn="l" defTabSz="761787" rtl="0" eaLnBrk="1" latinLnBrk="0" hangingPunct="1">
      <a:defRPr sz="1000" kern="1200">
        <a:solidFill>
          <a:schemeClr val="tx1"/>
        </a:solidFill>
        <a:latin typeface="+mn-lt"/>
        <a:ea typeface="+mn-ea"/>
        <a:cs typeface="+mn-cs"/>
      </a:defRPr>
    </a:lvl7pPr>
    <a:lvl8pPr marL="2666253" algn="l" defTabSz="761787" rtl="0" eaLnBrk="1" latinLnBrk="0" hangingPunct="1">
      <a:defRPr sz="1000" kern="1200">
        <a:solidFill>
          <a:schemeClr val="tx1"/>
        </a:solidFill>
        <a:latin typeface="+mn-lt"/>
        <a:ea typeface="+mn-ea"/>
        <a:cs typeface="+mn-cs"/>
      </a:defRPr>
    </a:lvl8pPr>
    <a:lvl9pPr marL="3047147" algn="l" defTabSz="76178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nl.wikipedia.org/wiki/Europese_verordening"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nl.wikipedia.org/wiki/Persoonsgegevens" TargetMode="External"/><Relationship Id="rId5" Type="http://schemas.openxmlformats.org/officeDocument/2006/relationships/hyperlink" Target="https://nl.wikipedia.org/wiki/1995" TargetMode="External"/><Relationship Id="rId4" Type="http://schemas.openxmlformats.org/officeDocument/2006/relationships/hyperlink" Target="https://nl.wikipedia.org/wiki/Databeschermingsrichtlijn"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1</a:t>
            </a:fld>
            <a:endParaRPr lang="en-US" dirty="0"/>
          </a:p>
        </p:txBody>
      </p:sp>
    </p:spTree>
    <p:extLst>
      <p:ext uri="{BB962C8B-B14F-4D97-AF65-F5344CB8AC3E}">
        <p14:creationId xmlns:p14="http://schemas.microsoft.com/office/powerpoint/2010/main" val="2024907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12</a:t>
            </a:fld>
            <a:endParaRPr lang="en-US" dirty="0"/>
          </a:p>
        </p:txBody>
      </p:sp>
    </p:spTree>
    <p:extLst>
      <p:ext uri="{BB962C8B-B14F-4D97-AF65-F5344CB8AC3E}">
        <p14:creationId xmlns:p14="http://schemas.microsoft.com/office/powerpoint/2010/main" val="2529388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15</a:t>
            </a:fld>
            <a:endParaRPr lang="en-US" dirty="0"/>
          </a:p>
        </p:txBody>
      </p:sp>
    </p:spTree>
    <p:extLst>
      <p:ext uri="{BB962C8B-B14F-4D97-AF65-F5344CB8AC3E}">
        <p14:creationId xmlns:p14="http://schemas.microsoft.com/office/powerpoint/2010/main" val="1713203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16</a:t>
            </a:fld>
            <a:endParaRPr lang="en-US" dirty="0"/>
          </a:p>
        </p:txBody>
      </p:sp>
    </p:spTree>
    <p:extLst>
      <p:ext uri="{BB962C8B-B14F-4D97-AF65-F5344CB8AC3E}">
        <p14:creationId xmlns:p14="http://schemas.microsoft.com/office/powerpoint/2010/main" val="2319503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19</a:t>
            </a:fld>
            <a:endParaRPr lang="en-US" dirty="0"/>
          </a:p>
        </p:txBody>
      </p:sp>
    </p:spTree>
    <p:extLst>
      <p:ext uri="{BB962C8B-B14F-4D97-AF65-F5344CB8AC3E}">
        <p14:creationId xmlns:p14="http://schemas.microsoft.com/office/powerpoint/2010/main" val="142772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22</a:t>
            </a:fld>
            <a:endParaRPr lang="en-US" dirty="0"/>
          </a:p>
        </p:txBody>
      </p:sp>
    </p:spTree>
    <p:extLst>
      <p:ext uri="{BB962C8B-B14F-4D97-AF65-F5344CB8AC3E}">
        <p14:creationId xmlns:p14="http://schemas.microsoft.com/office/powerpoint/2010/main" val="2659759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23</a:t>
            </a:fld>
            <a:endParaRPr lang="en-US" dirty="0"/>
          </a:p>
        </p:txBody>
      </p:sp>
    </p:spTree>
    <p:extLst>
      <p:ext uri="{BB962C8B-B14F-4D97-AF65-F5344CB8AC3E}">
        <p14:creationId xmlns:p14="http://schemas.microsoft.com/office/powerpoint/2010/main" val="3082706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Expiration</a:t>
            </a:r>
            <a:endParaRPr lang="nl-NL" dirty="0"/>
          </a:p>
          <a:p>
            <a:r>
              <a:rPr lang="nl-NL" dirty="0" err="1"/>
              <a:t>Deletion</a:t>
            </a:r>
            <a:endParaRPr lang="nl-NL" dirty="0"/>
          </a:p>
          <a:p>
            <a:r>
              <a:rPr lang="nl-NL" dirty="0"/>
              <a:t>Worden pas toegepast na publicatie</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8/2018 3: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080031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25</a:t>
            </a:fld>
            <a:endParaRPr lang="en-US" dirty="0"/>
          </a:p>
        </p:txBody>
      </p:sp>
    </p:spTree>
    <p:extLst>
      <p:ext uri="{BB962C8B-B14F-4D97-AF65-F5344CB8AC3E}">
        <p14:creationId xmlns:p14="http://schemas.microsoft.com/office/powerpoint/2010/main" val="37073163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sa </a:t>
            </a:r>
            <a:endParaRPr lang="en-GB"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365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utomatic </a:t>
            </a:r>
            <a:r>
              <a:rPr lang="nl-NL" dirty="0" err="1"/>
              <a:t>rules</a:t>
            </a:r>
            <a:r>
              <a:rPr lang="nl-NL" dirty="0"/>
              <a:t> </a:t>
            </a:r>
            <a:r>
              <a:rPr lang="nl-NL" dirty="0" err="1"/>
              <a:t>to</a:t>
            </a:r>
            <a:r>
              <a:rPr lang="nl-NL" dirty="0"/>
              <a:t> </a:t>
            </a:r>
            <a:r>
              <a:rPr lang="nl-NL" dirty="0" err="1"/>
              <a:t>detect</a:t>
            </a:r>
            <a:r>
              <a:rPr lang="nl-NL" dirty="0"/>
              <a:t> content</a:t>
            </a:r>
          </a:p>
          <a:p>
            <a:r>
              <a:rPr lang="nl-NL" dirty="0" err="1"/>
              <a:t>Conditions</a:t>
            </a:r>
            <a:r>
              <a:rPr lang="nl-NL" dirty="0"/>
              <a:t> </a:t>
            </a:r>
            <a:r>
              <a:rPr lang="nl-NL" dirty="0" err="1"/>
              <a:t>and</a:t>
            </a:r>
            <a:r>
              <a:rPr lang="nl-NL" dirty="0"/>
              <a:t> actions</a:t>
            </a:r>
          </a:p>
          <a:p>
            <a:r>
              <a:rPr lang="nl-NL" dirty="0" err="1"/>
              <a:t>Notifications</a:t>
            </a:r>
            <a:endParaRPr lang="nl-NL" dirty="0"/>
          </a:p>
          <a:p>
            <a:r>
              <a:rPr lang="nl-NL" dirty="0" err="1"/>
              <a:t>Reports</a:t>
            </a:r>
            <a:endParaRPr lang="nl-NL" dirty="0"/>
          </a:p>
          <a:p>
            <a:endParaRPr lang="nl-NL"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8/2018 3: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42286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849070">
              <a:defRPr/>
            </a:pPr>
            <a:endParaRPr lang="nl-NL" sz="900" dirty="0"/>
          </a:p>
          <a:p>
            <a:r>
              <a:rPr lang="nl-NL" sz="1100" dirty="0"/>
              <a:t>GDPR = General Data Protection Regulation AVG = algemene verordening gegevensbescherming</a:t>
            </a:r>
          </a:p>
          <a:p>
            <a:r>
              <a:rPr lang="nl-NL" sz="1100" dirty="0"/>
              <a:t>Deze </a:t>
            </a:r>
            <a:r>
              <a:rPr lang="nl-NL" sz="1100" dirty="0">
                <a:hlinkClick r:id="rId3"/>
              </a:rPr>
              <a:t>verordening</a:t>
            </a:r>
            <a:r>
              <a:rPr lang="nl-NL" sz="1100" dirty="0"/>
              <a:t> vervangt de </a:t>
            </a:r>
            <a:r>
              <a:rPr lang="nl-NL" sz="1100" dirty="0">
                <a:hlinkClick r:id="rId4"/>
              </a:rPr>
              <a:t>databeschermingsrichtlijn</a:t>
            </a:r>
            <a:r>
              <a:rPr lang="nl-NL" sz="1100" dirty="0"/>
              <a:t> uit </a:t>
            </a:r>
            <a:r>
              <a:rPr lang="nl-NL" sz="1100" dirty="0">
                <a:hlinkClick r:id="rId5"/>
              </a:rPr>
              <a:t>1995</a:t>
            </a:r>
            <a:r>
              <a:rPr lang="nl-NL" sz="1100" dirty="0"/>
              <a:t>. Die sloot niet meer aan op de huidige digitale wereld. GDPR = 'bescherming van natuurlijke personen in verband met de </a:t>
            </a:r>
            <a:r>
              <a:rPr lang="nl-NL" sz="1100" b="1" dirty="0"/>
              <a:t>verwerking</a:t>
            </a:r>
            <a:r>
              <a:rPr lang="nl-NL" sz="1100" dirty="0"/>
              <a:t> van </a:t>
            </a:r>
            <a:r>
              <a:rPr lang="nl-NL" sz="1100" b="1" dirty="0">
                <a:hlinkClick r:id="rId6"/>
              </a:rPr>
              <a:t>persoonsgegevens</a:t>
            </a:r>
            <a:r>
              <a:rPr lang="nl-NL" sz="1100" dirty="0"/>
              <a:t> en betreffende het vrije verkeer van die gegevens’.  EN om afspraken hieromtrent te uniformiseren binnen EU.</a:t>
            </a:r>
          </a:p>
          <a:p>
            <a:r>
              <a:rPr lang="nl-NL" sz="1100" dirty="0"/>
              <a:t>Waarom impact: Demonstreren van accountability</a:t>
            </a:r>
          </a:p>
          <a:p>
            <a:r>
              <a:rPr lang="nl-NL" sz="1100" dirty="0"/>
              <a:t>Uitleggen wat zijn persoonsgegevens en wat is verwerking?</a:t>
            </a:r>
          </a:p>
          <a:p>
            <a:endParaRPr lang="nl-NL" sz="900" dirty="0"/>
          </a:p>
        </p:txBody>
      </p:sp>
      <p:sp>
        <p:nvSpPr>
          <p:cNvPr id="4" name="Tijdelijke aanduiding voor dianummer 3"/>
          <p:cNvSpPr>
            <a:spLocks noGrp="1"/>
          </p:cNvSpPr>
          <p:nvPr>
            <p:ph type="sldNum" sz="quarter" idx="10"/>
          </p:nvPr>
        </p:nvSpPr>
        <p:spPr/>
        <p:txBody>
          <a:bodyPr/>
          <a:lstStyle/>
          <a:p>
            <a:fld id="{E3A231E2-5917-44CD-8A06-5F2829B13D02}" type="slidenum">
              <a:rPr lang="en-US" smtClean="0"/>
              <a:pPr/>
              <a:t>2</a:t>
            </a:fld>
            <a:endParaRPr lang="en-US"/>
          </a:p>
        </p:txBody>
      </p:sp>
    </p:spTree>
    <p:extLst>
      <p:ext uri="{BB962C8B-B14F-4D97-AF65-F5344CB8AC3E}">
        <p14:creationId xmlns:p14="http://schemas.microsoft.com/office/powerpoint/2010/main" val="31070912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Date Placeholder 3"/>
          <p:cNvSpPr>
            <a:spLocks noGrp="1"/>
          </p:cNvSpPr>
          <p:nvPr>
            <p:ph type="dt" idx="10"/>
          </p:nvPr>
        </p:nvSpPr>
        <p:spPr>
          <a:xfrm>
            <a:off x="401410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016D4FFF-EA12-4113-A505-A9024717336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1/18/2018</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a:xfrm>
            <a:off x="6106286" y="8902344"/>
            <a:ext cx="978673" cy="468630"/>
          </a:xfrm>
          <a:prstGeom prst="rect">
            <a:avLst/>
          </a:prstGeom>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a:xfrm>
            <a:off x="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a:xfrm>
            <a:off x="0" y="8902343"/>
            <a:ext cx="5988177" cy="375346"/>
          </a:xfrm>
          <a:prstGeom prst="rect">
            <a:avLst/>
          </a:prstGeom>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95780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8 3:2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403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30</a:t>
            </a:fld>
            <a:endParaRPr lang="en-US" dirty="0"/>
          </a:p>
        </p:txBody>
      </p:sp>
    </p:spTree>
    <p:extLst>
      <p:ext uri="{BB962C8B-B14F-4D97-AF65-F5344CB8AC3E}">
        <p14:creationId xmlns:p14="http://schemas.microsoft.com/office/powerpoint/2010/main" val="3243907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Date Placeholder 3"/>
          <p:cNvSpPr>
            <a:spLocks noGrp="1"/>
          </p:cNvSpPr>
          <p:nvPr>
            <p:ph type="dt" idx="10"/>
          </p:nvPr>
        </p:nvSpPr>
        <p:spPr>
          <a:xfrm>
            <a:off x="401410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016D4FFF-EA12-4113-A505-A9024717336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1/18/2018</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a:xfrm>
            <a:off x="6106286" y="8902344"/>
            <a:ext cx="978673" cy="468630"/>
          </a:xfrm>
          <a:prstGeom prst="rect">
            <a:avLst/>
          </a:prstGeom>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a:xfrm>
            <a:off x="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a:xfrm>
            <a:off x="0" y="8902343"/>
            <a:ext cx="5988177" cy="375346"/>
          </a:xfrm>
          <a:prstGeom prst="rect">
            <a:avLst/>
          </a:prstGeom>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559285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900" b="0" i="0" kern="1200" dirty="0">
                <a:solidFill>
                  <a:schemeClr val="tx1"/>
                </a:solidFill>
                <a:effectLst/>
                <a:latin typeface="Segoe UI Light" pitchFamily="34" charset="0"/>
                <a:ea typeface="+mn-ea"/>
                <a:cs typeface="+mn-cs"/>
              </a:rPr>
              <a:t>Connect-</a:t>
            </a:r>
            <a:r>
              <a:rPr lang="nl-NL" sz="900" b="0" i="0" kern="1200" dirty="0" err="1">
                <a:solidFill>
                  <a:schemeClr val="tx1"/>
                </a:solidFill>
                <a:effectLst/>
                <a:latin typeface="Segoe UI Light" pitchFamily="34" charset="0"/>
                <a:ea typeface="+mn-ea"/>
                <a:cs typeface="+mn-cs"/>
              </a:rPr>
              <a:t>AadrmService</a:t>
            </a:r>
            <a:endParaRPr lang="nl-NL" sz="900" b="0" i="0" kern="1200" dirty="0">
              <a:solidFill>
                <a:schemeClr val="tx1"/>
              </a:solidFill>
              <a:effectLst/>
              <a:latin typeface="Segoe UI Light" pitchFamily="34" charset="0"/>
              <a:ea typeface="+mn-ea"/>
              <a:cs typeface="+mn-cs"/>
            </a:endParaRPr>
          </a:p>
          <a:p>
            <a:r>
              <a:rPr lang="nl-NL" sz="900" b="0" i="0" kern="1200" dirty="0">
                <a:solidFill>
                  <a:schemeClr val="tx1"/>
                </a:solidFill>
                <a:effectLst/>
                <a:latin typeface="Segoe UI Light" pitchFamily="34" charset="0"/>
                <a:ea typeface="+mn-ea"/>
                <a:cs typeface="+mn-cs"/>
              </a:rPr>
              <a:t>Get-</a:t>
            </a:r>
            <a:r>
              <a:rPr lang="nl-NL" sz="900" b="0" i="0" kern="1200" dirty="0" err="1">
                <a:solidFill>
                  <a:schemeClr val="tx1"/>
                </a:solidFill>
                <a:effectLst/>
                <a:latin typeface="Segoe UI Light" pitchFamily="34" charset="0"/>
                <a:ea typeface="+mn-ea"/>
                <a:cs typeface="+mn-cs"/>
              </a:rPr>
              <a:t>AadrmConfiguration</a:t>
            </a:r>
            <a:endParaRPr lang="nl-NL" sz="900" b="0" i="0" kern="1200" dirty="0">
              <a:solidFill>
                <a:schemeClr val="tx1"/>
              </a:solidFill>
              <a:effectLst/>
              <a:latin typeface="Segoe UI Light" pitchFamily="34" charset="0"/>
              <a:ea typeface="+mn-ea"/>
              <a:cs typeface="+mn-cs"/>
            </a:endParaRPr>
          </a:p>
          <a:p>
            <a:r>
              <a:rPr lang="nl-NL" dirty="0"/>
              <a:t>Get-</a:t>
            </a:r>
            <a:r>
              <a:rPr lang="nl-NL" dirty="0" err="1"/>
              <a:t>AIPFileStatus</a:t>
            </a:r>
            <a:endParaRPr lang="nl-NL" dirty="0"/>
          </a:p>
          <a:p>
            <a:r>
              <a:rPr lang="nl-NL" dirty="0"/>
              <a:t>Set-</a:t>
            </a:r>
            <a:r>
              <a:rPr lang="nl-NL" dirty="0" err="1"/>
              <a:t>AIPFileClassification</a:t>
            </a:r>
            <a:endParaRPr lang="nl-NL" dirty="0"/>
          </a:p>
          <a:p>
            <a:r>
              <a:rPr lang="nl-NL" dirty="0"/>
              <a:t>Set-</a:t>
            </a:r>
            <a:r>
              <a:rPr lang="nl-NL" dirty="0" err="1"/>
              <a:t>AIPFileLabel</a:t>
            </a:r>
            <a:endParaRPr lang="nl-NL" dirty="0"/>
          </a:p>
          <a:p>
            <a:endParaRPr lang="nl-NL" dirty="0"/>
          </a:p>
          <a:p>
            <a:r>
              <a:rPr lang="nl-NL" dirty="0"/>
              <a:t>https://alberthoitingh.com/2017/07/07/azure-information-protection-powershell/</a:t>
            </a:r>
          </a:p>
          <a:p>
            <a:endParaRPr lang="nl-NL" baseline="0" dirty="0"/>
          </a:p>
          <a:p>
            <a:endParaRPr lang="nl-NL" baseline="0" dirty="0"/>
          </a:p>
        </p:txBody>
      </p:sp>
      <p:sp>
        <p:nvSpPr>
          <p:cNvPr id="4" name="Slide Number Placeholder 3"/>
          <p:cNvSpPr>
            <a:spLocks noGrp="1"/>
          </p:cNvSpPr>
          <p:nvPr>
            <p:ph type="sldNum" sz="quarter" idx="10"/>
          </p:nvPr>
        </p:nvSpPr>
        <p:spPr/>
        <p:txBody>
          <a:bodyPr/>
          <a:lstStyle/>
          <a:p>
            <a:fld id="{E3A231E2-5917-44CD-8A06-5F2829B13D02}" type="slidenum">
              <a:rPr lang="en-US" smtClean="0"/>
              <a:pPr/>
              <a:t>32</a:t>
            </a:fld>
            <a:endParaRPr lang="en-US"/>
          </a:p>
        </p:txBody>
      </p:sp>
    </p:spTree>
    <p:extLst>
      <p:ext uri="{BB962C8B-B14F-4D97-AF65-F5344CB8AC3E}">
        <p14:creationId xmlns:p14="http://schemas.microsoft.com/office/powerpoint/2010/main" val="33497839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Je kunt nu wel de labels opnemen in een </a:t>
            </a:r>
            <a:r>
              <a:rPr lang="nl-NL" dirty="0" err="1"/>
              <a:t>sharepoint</a:t>
            </a:r>
            <a:r>
              <a:rPr lang="nl-NL" dirty="0"/>
              <a:t> bieb en deze laten </a:t>
            </a:r>
            <a:r>
              <a:rPr lang="nl-NL" dirty="0" err="1"/>
              <a:t>synchen</a:t>
            </a:r>
            <a:endParaRPr lang="nl-NL" dirty="0"/>
          </a:p>
          <a:p>
            <a:r>
              <a:rPr lang="nl-NL" baseline="0" dirty="0"/>
              <a:t>En de </a:t>
            </a:r>
            <a:r>
              <a:rPr lang="nl-NL" baseline="0" dirty="0" err="1"/>
              <a:t>advanced</a:t>
            </a:r>
            <a:r>
              <a:rPr lang="nl-NL" baseline="0" dirty="0"/>
              <a:t> data </a:t>
            </a:r>
            <a:r>
              <a:rPr lang="nl-NL" baseline="0" dirty="0" err="1"/>
              <a:t>governance</a:t>
            </a:r>
            <a:r>
              <a:rPr lang="nl-NL" baseline="0" dirty="0"/>
              <a:t> labels komen </a:t>
            </a:r>
            <a:r>
              <a:rPr lang="nl-NL" baseline="0" dirty="0" err="1"/>
              <a:t>inline</a:t>
            </a:r>
            <a:r>
              <a:rPr lang="nl-NL" baseline="0" dirty="0"/>
              <a:t> met AIP labels</a:t>
            </a:r>
          </a:p>
          <a:p>
            <a:endParaRPr lang="nl-NL" baseline="0" dirty="0"/>
          </a:p>
          <a:p>
            <a:endParaRPr lang="nl-NL" baseline="0" dirty="0"/>
          </a:p>
        </p:txBody>
      </p:sp>
      <p:sp>
        <p:nvSpPr>
          <p:cNvPr id="4" name="Slide Number Placeholder 3"/>
          <p:cNvSpPr>
            <a:spLocks noGrp="1"/>
          </p:cNvSpPr>
          <p:nvPr>
            <p:ph type="sldNum" sz="quarter" idx="10"/>
          </p:nvPr>
        </p:nvSpPr>
        <p:spPr/>
        <p:txBody>
          <a:bodyPr/>
          <a:lstStyle/>
          <a:p>
            <a:fld id="{E3A231E2-5917-44CD-8A06-5F2829B13D02}" type="slidenum">
              <a:rPr lang="en-US" smtClean="0"/>
              <a:pPr/>
              <a:t>33</a:t>
            </a:fld>
            <a:endParaRPr lang="en-US"/>
          </a:p>
        </p:txBody>
      </p:sp>
    </p:spTree>
    <p:extLst>
      <p:ext uri="{BB962C8B-B14F-4D97-AF65-F5344CB8AC3E}">
        <p14:creationId xmlns:p14="http://schemas.microsoft.com/office/powerpoint/2010/main" val="21447114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231E2-5917-44CD-8A06-5F2829B13D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59655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9800" y="233363"/>
            <a:ext cx="3243263" cy="1825625"/>
          </a:xfrm>
        </p:spPr>
      </p:sp>
      <p:sp>
        <p:nvSpPr>
          <p:cNvPr id="3" name="Notes Placeholder 2"/>
          <p:cNvSpPr>
            <a:spLocks noGrp="1"/>
          </p:cNvSpPr>
          <p:nvPr>
            <p:ph type="body" idx="1"/>
          </p:nvPr>
        </p:nvSpPr>
        <p:spPr/>
        <p:txBody>
          <a:bodyPr/>
          <a:lstStyle/>
          <a:p>
            <a:pPr marL="0" indent="0">
              <a:buFontTx/>
              <a:buNone/>
            </a:pPr>
            <a:r>
              <a:rPr lang="en-US" b="1" baseline="0" dirty="0"/>
              <a:t>Key messages:</a:t>
            </a:r>
          </a:p>
          <a:p>
            <a:pPr marL="171450" marR="0" indent="-171450" algn="l" defTabSz="7617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chemeClr val="accent1"/>
                </a:solidFill>
              </a:rPr>
              <a:t>Meet compliance requirements by implementing data retention and time-based hold policies.</a:t>
            </a:r>
          </a:p>
          <a:p>
            <a:pPr marL="171450" indent="-171450">
              <a:buFont typeface="Arial" panose="020B0604020202020204" pitchFamily="34" charset="0"/>
              <a:buChar char="•"/>
            </a:pPr>
            <a:r>
              <a:rPr lang="en-US" baseline="0" dirty="0"/>
              <a:t>Perform eDiscovery quickly and significantly reduce the cost and time of producing required documentation for inquiries</a:t>
            </a:r>
          </a:p>
          <a:p>
            <a:pPr marL="171450" indent="-171450">
              <a:buFont typeface="Arial" panose="020B0604020202020204" pitchFamily="34" charset="0"/>
              <a:buChar char="•"/>
            </a:pPr>
            <a:r>
              <a:rPr lang="en-US" baseline="0" dirty="0"/>
              <a:t>Work together to crowd-source answers to regulator requests. Avoid raising flags by multiple people answering questions in multiple ways.</a:t>
            </a:r>
          </a:p>
          <a:p>
            <a:pPr marL="171450" indent="-171450">
              <a:buFont typeface="Arial" panose="020B0604020202020204" pitchFamily="34" charset="0"/>
              <a:buChar char="•"/>
            </a:pPr>
            <a:r>
              <a:rPr lang="en-US" baseline="0" dirty="0"/>
              <a:t>Have a single version of the truth rather than versions in data warehouses.</a:t>
            </a:r>
          </a:p>
          <a:p>
            <a:pPr marL="0" marR="0" indent="0" algn="l" defTabSz="761787" rtl="0" eaLnBrk="1" fontAlgn="auto" latinLnBrk="0" hangingPunct="1">
              <a:lnSpc>
                <a:spcPct val="100000"/>
              </a:lnSpc>
              <a:spcBef>
                <a:spcPts val="0"/>
              </a:spcBef>
              <a:spcAft>
                <a:spcPts val="0"/>
              </a:spcAft>
              <a:buClrTx/>
              <a:buSzTx/>
              <a:buFontTx/>
              <a:buNone/>
              <a:tabLst/>
              <a:defRPr/>
            </a:pPr>
            <a:endParaRPr lang="en-US" b="1" dirty="0">
              <a:effectLst/>
            </a:endParaRPr>
          </a:p>
          <a:p>
            <a:pPr marL="0" marR="0" indent="0" algn="l" defTabSz="761787" rtl="0" eaLnBrk="1" fontAlgn="auto" latinLnBrk="0" hangingPunct="1">
              <a:lnSpc>
                <a:spcPct val="100000"/>
              </a:lnSpc>
              <a:spcBef>
                <a:spcPts val="0"/>
              </a:spcBef>
              <a:spcAft>
                <a:spcPts val="0"/>
              </a:spcAft>
              <a:buClrTx/>
              <a:buSzTx/>
              <a:buFontTx/>
              <a:buNone/>
              <a:tabLst/>
              <a:defRPr/>
            </a:pPr>
            <a:r>
              <a:rPr lang="en-US" b="1" dirty="0">
                <a:effectLst/>
              </a:rPr>
              <a:t>Data Source</a:t>
            </a:r>
          </a:p>
          <a:p>
            <a:pPr defTabSz="914099" fontAlgn="base">
              <a:spcBef>
                <a:spcPct val="0"/>
              </a:spcBef>
              <a:spcAft>
                <a:spcPts val="600"/>
              </a:spcAft>
            </a:pPr>
            <a:r>
              <a:rPr lang="en-US" kern="1200" dirty="0">
                <a:ea typeface="Segoe UI" panose="020B0502040204020203" pitchFamily="34" charset="0"/>
              </a:rPr>
              <a:t>Source “The Total Economic Impact of Microsoft Office 365</a:t>
            </a:r>
            <a:r>
              <a:rPr lang="en-US" kern="1200" baseline="0" dirty="0">
                <a:ea typeface="Segoe UI" panose="020B0502040204020203" pitchFamily="34" charset="0"/>
              </a:rPr>
              <a:t> for Manufacturing Organizations</a:t>
            </a:r>
            <a:r>
              <a:rPr lang="en-US" kern="1200" dirty="0">
                <a:ea typeface="Segoe UI" panose="020B0502040204020203" pitchFamily="34" charset="0"/>
              </a:rPr>
              <a:t>” </a:t>
            </a:r>
          </a:p>
          <a:p>
            <a:pPr defTabSz="914099" fontAlgn="base">
              <a:spcBef>
                <a:spcPct val="0"/>
              </a:spcBef>
              <a:spcAft>
                <a:spcPts val="600"/>
              </a:spcAft>
            </a:pPr>
            <a:r>
              <a:rPr lang="en-US" kern="1200" baseline="0" dirty="0">
                <a:ea typeface="Segoe UI" panose="020B0502040204020203" pitchFamily="34" charset="0"/>
              </a:rPr>
              <a:t>Based on surveys of 35 manufacturing organizations, respondents indicated on average, reduced compliance costs by 12.3% and reduced time spent on eDiscovery efforts by 10.5%</a:t>
            </a:r>
          </a:p>
          <a:p>
            <a:pPr defTabSz="914099" fontAlgn="base">
              <a:spcBef>
                <a:spcPct val="0"/>
              </a:spcBef>
              <a:spcAft>
                <a:spcPts val="600"/>
              </a:spcAft>
            </a:pPr>
            <a:endParaRPr lang="en-US" b="1" dirty="0">
              <a:effectLst/>
            </a:endParaRPr>
          </a:p>
          <a:p>
            <a:pPr marL="0" marR="0" indent="0" algn="l" defTabSz="761787"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effectLst/>
                <a:latin typeface="Arial" pitchFamily="34" charset="0"/>
                <a:ea typeface="+mn-ea"/>
                <a:cs typeface="Arial" pitchFamily="34" charset="0"/>
              </a:rPr>
              <a:t>E5</a:t>
            </a:r>
            <a:r>
              <a:rPr lang="en-US" sz="700" b="1" kern="1200" baseline="0" dirty="0">
                <a:solidFill>
                  <a:schemeClr val="tx1"/>
                </a:solidFill>
                <a:effectLst/>
                <a:latin typeface="Arial" pitchFamily="34" charset="0"/>
                <a:ea typeface="+mn-ea"/>
                <a:cs typeface="Arial" pitchFamily="34" charset="0"/>
              </a:rPr>
              <a:t> Value:</a:t>
            </a:r>
          </a:p>
          <a:p>
            <a:pPr marL="0" marR="0">
              <a:lnSpc>
                <a:spcPct val="107000"/>
              </a:lnSpc>
              <a:spcBef>
                <a:spcPts val="0"/>
              </a:spcBef>
              <a:spcAft>
                <a:spcPts val="800"/>
              </a:spcAft>
            </a:pPr>
            <a:r>
              <a:rPr lang="en-US" sz="700" b="1" kern="1200" dirty="0">
                <a:solidFill>
                  <a:schemeClr val="tx1"/>
                </a:solidFill>
                <a:effectLst/>
                <a:latin typeface="Arial" pitchFamily="34" charset="0"/>
                <a:ea typeface="+mn-ea"/>
                <a:cs typeface="Arial" pitchFamily="34" charset="0"/>
              </a:rPr>
              <a:t>Office 365 Advanced eDiscovery</a:t>
            </a:r>
            <a:r>
              <a:rPr lang="en-US" sz="700" kern="1200" dirty="0">
                <a:solidFill>
                  <a:schemeClr val="tx1"/>
                </a:solidFill>
                <a:effectLst/>
                <a:latin typeface="Arial" pitchFamily="34" charset="0"/>
                <a:ea typeface="+mn-ea"/>
                <a:cs typeface="Arial" pitchFamily="34" charset="0"/>
              </a:rPr>
              <a:t> integrates Equivio machine learning, predictive coding and text analytics capabilities, to reduce the costs and challenges that come along with sorting through large quantities of data for eDiscovery purposes. In today’s data environment, the eDiscovery process for any given case could involve sorting through millions of emails, text messages, instant messages and documents to find the small number of files that are most relevant. Office 365 Advanced eDiscovery reduces the volume of data by eliminating duplicate files, reconstructing email threads and identifying key themes and data relationships. Finally, it enables users to train the system to intelligently explore and analyze large, unstructured data sets and quickly zero in on what is relevant.</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761787" rtl="0" eaLnBrk="1" fontAlgn="auto" latinLnBrk="0" hangingPunct="1">
              <a:lnSpc>
                <a:spcPct val="100000"/>
              </a:lnSpc>
              <a:spcBef>
                <a:spcPts val="0"/>
              </a:spcBef>
              <a:spcAft>
                <a:spcPts val="0"/>
              </a:spcAft>
              <a:buClrTx/>
              <a:buSzTx/>
              <a:buFontTx/>
              <a:buNone/>
              <a:tabLst/>
              <a:defRPr/>
            </a:pPr>
            <a:endParaRPr lang="en-US" sz="700" b="1" kern="1200" dirty="0">
              <a:solidFill>
                <a:schemeClr val="tx1"/>
              </a:solidFill>
              <a:effectLst/>
              <a:latin typeface="Arial" pitchFamily="34" charset="0"/>
              <a:ea typeface="+mn-ea"/>
              <a:cs typeface="Arial" pitchFamily="34" charset="0"/>
            </a:endParaRPr>
          </a:p>
          <a:p>
            <a:pPr marL="0" marR="0" indent="0" algn="l" defTabSz="761787" rtl="0" eaLnBrk="1" fontAlgn="auto" latinLnBrk="0" hangingPunct="1">
              <a:lnSpc>
                <a:spcPct val="100000"/>
              </a:lnSpc>
              <a:spcBef>
                <a:spcPts val="0"/>
              </a:spcBef>
              <a:spcAft>
                <a:spcPts val="0"/>
              </a:spcAft>
              <a:buClrTx/>
              <a:buSzTx/>
              <a:buFontTx/>
              <a:buNone/>
              <a:tabLst/>
              <a:defRPr/>
            </a:pPr>
            <a:r>
              <a:rPr lang="en-US" sz="700" b="1" u="sng" kern="1200" baseline="0" dirty="0">
                <a:solidFill>
                  <a:schemeClr val="tx1"/>
                </a:solidFill>
                <a:latin typeface="Arial" pitchFamily="34" charset="0"/>
                <a:ea typeface="+mn-ea"/>
                <a:cs typeface="Arial" pitchFamily="34" charset="0"/>
              </a:rPr>
              <a:t>Other Scenario Solutions (not E5 specific):</a:t>
            </a:r>
          </a:p>
          <a:p>
            <a:pPr marL="0" marR="0" indent="0" algn="l" defTabSz="761787" rtl="0" eaLnBrk="1" fontAlgn="auto" latinLnBrk="0" hangingPunct="1">
              <a:lnSpc>
                <a:spcPct val="100000"/>
              </a:lnSpc>
              <a:spcBef>
                <a:spcPts val="0"/>
              </a:spcBef>
              <a:spcAft>
                <a:spcPts val="0"/>
              </a:spcAft>
              <a:buClrTx/>
              <a:buSzTx/>
              <a:buFontTx/>
              <a:buNone/>
              <a:tabLst/>
              <a:defRPr/>
            </a:pPr>
            <a:r>
              <a:rPr lang="en-US" sz="700" b="1" kern="1200" dirty="0">
                <a:solidFill>
                  <a:srgbClr val="EB3C00"/>
                </a:solidFill>
                <a:latin typeface="Arial" pitchFamily="34" charset="0"/>
                <a:ea typeface="+mn-ea"/>
                <a:cs typeface="Arial" pitchFamily="34" charset="0"/>
              </a:rPr>
              <a:t>Meet regulatory compliance needs</a:t>
            </a:r>
          </a:p>
          <a:p>
            <a:pPr marL="0" marR="0" indent="0" algn="l" defTabSz="761787" rtl="0" eaLnBrk="1" fontAlgn="auto" latinLnBrk="0" hangingPunct="1">
              <a:lnSpc>
                <a:spcPct val="100000"/>
              </a:lnSpc>
              <a:spcBef>
                <a:spcPts val="0"/>
              </a:spcBef>
              <a:spcAft>
                <a:spcPts val="0"/>
              </a:spcAft>
              <a:buClrTx/>
              <a:buSzTx/>
              <a:buFontTx/>
              <a:buNone/>
              <a:tabLst/>
              <a:defRPr/>
            </a:pPr>
            <a:r>
              <a:rPr lang="en-US" sz="700" kern="1200" dirty="0">
                <a:solidFill>
                  <a:srgbClr val="EB3C00"/>
                </a:solidFill>
                <a:latin typeface="Arial" pitchFamily="34" charset="0"/>
                <a:ea typeface="+mn-ea"/>
                <a:cs typeface="Arial" pitchFamily="34" charset="0"/>
              </a:rPr>
              <a:t>Microsoft provides proof of qualification for many regulations such as SAS 70 Type II, SAFE Harbor, ISO 27001, HIPAA, FISMA, GxP. Microsoft will issue a business associate agreement (BAA) for HIPAA, meaning Microsoft take responsibility for any regulatory shortfalls of the Office 365 service. Comply with 21 CFR Part 11 with digital signatures in Office documents and SharePoint workflows.</a:t>
            </a:r>
          </a:p>
          <a:p>
            <a:pPr marL="0" marR="0" indent="0" algn="l" defTabSz="761787" rtl="0" eaLnBrk="1" fontAlgn="auto" latinLnBrk="0" hangingPunct="1">
              <a:lnSpc>
                <a:spcPct val="100000"/>
              </a:lnSpc>
              <a:spcBef>
                <a:spcPts val="0"/>
              </a:spcBef>
              <a:spcAft>
                <a:spcPts val="0"/>
              </a:spcAft>
              <a:buClrTx/>
              <a:buSzTx/>
              <a:buFontTx/>
              <a:buNone/>
              <a:tabLst/>
              <a:defRPr/>
            </a:pPr>
            <a:endParaRPr lang="en-US" sz="700" kern="1200" dirty="0">
              <a:solidFill>
                <a:srgbClr val="EB3C00"/>
              </a:solidFill>
              <a:latin typeface="Arial" pitchFamily="34" charset="0"/>
              <a:ea typeface="+mn-ea"/>
              <a:cs typeface="Arial" pitchFamily="34" charset="0"/>
            </a:endParaRPr>
          </a:p>
          <a:p>
            <a:pPr marL="0" marR="0" indent="0" algn="l" defTabSz="761787" rtl="0" eaLnBrk="1" fontAlgn="auto" latinLnBrk="0" hangingPunct="1">
              <a:lnSpc>
                <a:spcPct val="100000"/>
              </a:lnSpc>
              <a:spcBef>
                <a:spcPts val="0"/>
              </a:spcBef>
              <a:spcAft>
                <a:spcPts val="0"/>
              </a:spcAft>
              <a:buClrTx/>
              <a:buSzTx/>
              <a:buFontTx/>
              <a:buNone/>
              <a:tabLst/>
              <a:defRPr/>
            </a:pPr>
            <a:r>
              <a:rPr lang="en-US" sz="700" b="1" kern="1200" dirty="0">
                <a:solidFill>
                  <a:srgbClr val="EB3C00"/>
                </a:solidFill>
                <a:latin typeface="Arial" pitchFamily="34" charset="0"/>
                <a:ea typeface="+mn-ea"/>
                <a:cs typeface="Arial" pitchFamily="34" charset="0"/>
              </a:rPr>
              <a:t>E-Discovery</a:t>
            </a:r>
          </a:p>
          <a:p>
            <a:r>
              <a:rPr lang="en-US" sz="700" kern="1200" dirty="0">
                <a:solidFill>
                  <a:schemeClr val="tx1"/>
                </a:solidFill>
                <a:effectLst/>
                <a:latin typeface="Arial" pitchFamily="34" charset="0"/>
                <a:ea typeface="+mn-ea"/>
                <a:cs typeface="Arial" pitchFamily="34" charset="0"/>
              </a:rPr>
              <a:t>With the unified eDiscovery Center, you can search across SharePoint, Skype for Business, and Exchange mailboxes. eDiscovery integrates with advanced retention and archiving, enabling in-place legal hold and case-based projects.</a:t>
            </a:r>
          </a:p>
          <a:p>
            <a:endParaRPr lang="en-US" sz="700" kern="1200" dirty="0">
              <a:solidFill>
                <a:schemeClr val="tx1"/>
              </a:solidFill>
              <a:effectLst/>
              <a:latin typeface="Arial" pitchFamily="34" charset="0"/>
              <a:ea typeface="+mn-ea"/>
              <a:cs typeface="Arial" pitchFamily="34" charset="0"/>
            </a:endParaRPr>
          </a:p>
          <a:p>
            <a:pPr marL="0" indent="0">
              <a:buFont typeface="Arial" panose="020B0604020202020204" pitchFamily="34" charset="0"/>
              <a:buNone/>
            </a:pPr>
            <a:r>
              <a:rPr lang="en-US" sz="700" b="1" kern="1200" baseline="0" dirty="0">
                <a:solidFill>
                  <a:schemeClr val="tx1"/>
                </a:solidFill>
                <a:latin typeface="Arial" pitchFamily="34" charset="0"/>
                <a:ea typeface="+mn-ea"/>
                <a:cs typeface="Arial" pitchFamily="34" charset="0"/>
              </a:rPr>
              <a:t>In-Place Hold</a:t>
            </a:r>
          </a:p>
          <a:p>
            <a:pPr marL="0" indent="0">
              <a:buFont typeface="Arial" panose="020B0604020202020204" pitchFamily="34" charset="0"/>
              <a:buNone/>
            </a:pPr>
            <a:r>
              <a:rPr lang="en-US" sz="700" kern="1200" baseline="0" dirty="0">
                <a:solidFill>
                  <a:schemeClr val="tx1"/>
                </a:solidFill>
                <a:latin typeface="Arial" pitchFamily="34" charset="0"/>
                <a:ea typeface="+mn-ea"/>
                <a:cs typeface="Arial" pitchFamily="34" charset="0"/>
              </a:rPr>
              <a:t>The ability to place legal holds on mailboxes without the user knowing in the case of potential legal action.</a:t>
            </a:r>
          </a:p>
          <a:p>
            <a:pPr marL="0" marR="0" indent="0" algn="l" defTabSz="761787" rtl="0" eaLnBrk="1" fontAlgn="auto" latinLnBrk="0" hangingPunct="1">
              <a:lnSpc>
                <a:spcPct val="100000"/>
              </a:lnSpc>
              <a:spcBef>
                <a:spcPts val="0"/>
              </a:spcBef>
              <a:spcAft>
                <a:spcPts val="0"/>
              </a:spcAft>
              <a:buClrTx/>
              <a:buSzTx/>
              <a:buFontTx/>
              <a:buNone/>
              <a:tabLst/>
              <a:defRPr/>
            </a:pPr>
            <a:endParaRPr lang="en-US" b="1" dirty="0">
              <a:effectLst/>
            </a:endParaRPr>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901996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3</a:t>
            </a:fld>
            <a:endParaRPr lang="en-US" dirty="0"/>
          </a:p>
        </p:txBody>
      </p:sp>
    </p:spTree>
    <p:extLst>
      <p:ext uri="{BB962C8B-B14F-4D97-AF65-F5344CB8AC3E}">
        <p14:creationId xmlns:p14="http://schemas.microsoft.com/office/powerpoint/2010/main" val="3743021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4</a:t>
            </a:fld>
            <a:endParaRPr lang="en-US" dirty="0"/>
          </a:p>
        </p:txBody>
      </p:sp>
    </p:spTree>
    <p:extLst>
      <p:ext uri="{BB962C8B-B14F-4D97-AF65-F5344CB8AC3E}">
        <p14:creationId xmlns:p14="http://schemas.microsoft.com/office/powerpoint/2010/main" val="704209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5</a:t>
            </a:fld>
            <a:endParaRPr lang="en-US" dirty="0"/>
          </a:p>
        </p:txBody>
      </p:sp>
    </p:spTree>
    <p:extLst>
      <p:ext uri="{BB962C8B-B14F-4D97-AF65-F5344CB8AC3E}">
        <p14:creationId xmlns:p14="http://schemas.microsoft.com/office/powerpoint/2010/main" val="2603507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849070">
              <a:defRPr/>
            </a:pPr>
            <a:r>
              <a:rPr lang="nl-NL" sz="1100" dirty="0"/>
              <a:t>Case: wehkamp&gt; wat is verwerken &gt; ook Cloudpartners, Testers, Backuppartijen, externe marketing bureaus</a:t>
            </a:r>
            <a:r>
              <a:rPr lang="nl-NL" sz="1100"/>
              <a:t>. Inktvl</a:t>
            </a:r>
            <a:endParaRPr lang="nl-NL" sz="1100" dirty="0"/>
          </a:p>
          <a:p>
            <a:endParaRPr lang="nl-NL" b="0" dirty="0"/>
          </a:p>
        </p:txBody>
      </p:sp>
      <p:sp>
        <p:nvSpPr>
          <p:cNvPr id="4" name="Tijdelijke aanduiding voor dianummer 3"/>
          <p:cNvSpPr>
            <a:spLocks noGrp="1"/>
          </p:cNvSpPr>
          <p:nvPr>
            <p:ph type="sldNum" sz="quarter" idx="10"/>
          </p:nvPr>
        </p:nvSpPr>
        <p:spPr/>
        <p:txBody>
          <a:bodyPr/>
          <a:lstStyle/>
          <a:p>
            <a:fld id="{E3A231E2-5917-44CD-8A06-5F2829B13D02}" type="slidenum">
              <a:rPr lang="en-US" smtClean="0"/>
              <a:pPr/>
              <a:t>6</a:t>
            </a:fld>
            <a:endParaRPr lang="en-US"/>
          </a:p>
        </p:txBody>
      </p:sp>
    </p:spTree>
    <p:extLst>
      <p:ext uri="{BB962C8B-B14F-4D97-AF65-F5344CB8AC3E}">
        <p14:creationId xmlns:p14="http://schemas.microsoft.com/office/powerpoint/2010/main" val="951614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0" dirty="0"/>
              <a:t>Wat kan een individu vragen? &gt; Organisaties moeten deze vragen kunnen beantwoorden.</a:t>
            </a:r>
          </a:p>
          <a:p>
            <a:r>
              <a:rPr lang="nl-NL" b="0" dirty="0"/>
              <a:t>Wat met een organisatie zelf regelen</a:t>
            </a:r>
          </a:p>
          <a:p>
            <a:r>
              <a:rPr lang="nl-NL" b="0" dirty="0"/>
              <a:t>Hoe om te gaan met data lek?</a:t>
            </a:r>
          </a:p>
        </p:txBody>
      </p:sp>
      <p:sp>
        <p:nvSpPr>
          <p:cNvPr id="4" name="Tijdelijke aanduiding voor dianummer 3"/>
          <p:cNvSpPr>
            <a:spLocks noGrp="1"/>
          </p:cNvSpPr>
          <p:nvPr>
            <p:ph type="sldNum" sz="quarter" idx="10"/>
          </p:nvPr>
        </p:nvSpPr>
        <p:spPr/>
        <p:txBody>
          <a:bodyPr/>
          <a:lstStyle/>
          <a:p>
            <a:fld id="{E3A231E2-5917-44CD-8A06-5F2829B13D02}" type="slidenum">
              <a:rPr lang="en-US" smtClean="0"/>
              <a:pPr/>
              <a:t>7</a:t>
            </a:fld>
            <a:endParaRPr lang="en-US"/>
          </a:p>
        </p:txBody>
      </p:sp>
    </p:spTree>
    <p:extLst>
      <p:ext uri="{BB962C8B-B14F-4D97-AF65-F5344CB8AC3E}">
        <p14:creationId xmlns:p14="http://schemas.microsoft.com/office/powerpoint/2010/main" val="2911984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A5B258F2-B2E5-4175-B339-81AEE5988F5F}" type="slidenum">
              <a:rPr lang="en-US" smtClean="0"/>
              <a:pPr/>
              <a:t>8</a:t>
            </a:fld>
            <a:endParaRPr lang="en-US" dirty="0"/>
          </a:p>
        </p:txBody>
      </p:sp>
    </p:spTree>
    <p:extLst>
      <p:ext uri="{BB962C8B-B14F-4D97-AF65-F5344CB8AC3E}">
        <p14:creationId xmlns:p14="http://schemas.microsoft.com/office/powerpoint/2010/main" val="2005488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8 3:2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C199BF48-4C13-49EA-8665-E723A8333731}"/>
              </a:ext>
            </a:extLst>
          </p:cNvPr>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350102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11.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image" Target="../media/image10.png"/><Relationship Id="rId5" Type="http://schemas.openxmlformats.org/officeDocument/2006/relationships/tags" Target="../tags/tag10.xml"/><Relationship Id="rId10" Type="http://schemas.openxmlformats.org/officeDocument/2006/relationships/image" Target="../media/image8.emf"/><Relationship Id="rId4" Type="http://schemas.openxmlformats.org/officeDocument/2006/relationships/tags" Target="../tags/tag9.xml"/><Relationship Id="rId9"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18016" y="381000"/>
            <a:ext cx="3809008"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1"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30792848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34876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le 1"/>
          <p:cNvSpPr>
            <a:spLocks noGrp="1"/>
          </p:cNvSpPr>
          <p:nvPr>
            <p:ph type="title"/>
          </p:nvPr>
        </p:nvSpPr>
        <p:spPr>
          <a:xfrm>
            <a:off x="455881" y="457200"/>
            <a:ext cx="11277063" cy="914400"/>
          </a:xfrm>
        </p:spPr>
        <p:txBody>
          <a:bodyPr/>
          <a:lstStyle/>
          <a:p>
            <a:r>
              <a:rPr lang="en-US" noProof="0"/>
              <a:t>Click to edit Master title style</a:t>
            </a:r>
            <a:endParaRPr lang="nl-NL" noProof="0"/>
          </a:p>
        </p:txBody>
      </p:sp>
      <p:sp>
        <p:nvSpPr>
          <p:cNvPr id="9" name="Table Placeholder 8"/>
          <p:cNvSpPr>
            <a:spLocks noGrp="1"/>
          </p:cNvSpPr>
          <p:nvPr>
            <p:ph type="tbl" sz="quarter" idx="13"/>
          </p:nvPr>
        </p:nvSpPr>
        <p:spPr>
          <a:xfrm>
            <a:off x="455881" y="1714168"/>
            <a:ext cx="11277063" cy="3881641"/>
          </a:xfrm>
        </p:spPr>
        <p:txBody>
          <a:bodyPr/>
          <a:lstStyle>
            <a:lvl1pPr>
              <a:lnSpc>
                <a:spcPts val="2133"/>
              </a:lnSpc>
              <a:defRPr sz="1866"/>
            </a:lvl1pPr>
          </a:lstStyle>
          <a:p>
            <a:r>
              <a:rPr lang="en-US" noProof="0" dirty="0"/>
              <a:t>Click icon to add table</a:t>
            </a:r>
            <a:endParaRPr lang="nl-NL" noProof="0" dirty="0"/>
          </a:p>
        </p:txBody>
      </p:sp>
      <p:sp>
        <p:nvSpPr>
          <p:cNvPr id="8" name="Slide Number Placeholder 7"/>
          <p:cNvSpPr>
            <a:spLocks noGrp="1"/>
          </p:cNvSpPr>
          <p:nvPr>
            <p:ph type="sldNum" sz="quarter" idx="14"/>
          </p:nvPr>
        </p:nvSpPr>
        <p:spPr/>
        <p:txBody>
          <a:bodyPr/>
          <a:lstStyle/>
          <a:p>
            <a:fld id="{4EACBA47-91FC-4F0F-98EF-AF8B449ABA17}" type="slidenum">
              <a:rPr lang="nl-NL" noProof="0" smtClean="0"/>
              <a:pPr/>
              <a:t>‹#›</a:t>
            </a:fld>
            <a:endParaRPr lang="nl-NL" noProof="0"/>
          </a:p>
        </p:txBody>
      </p:sp>
      <p:sp>
        <p:nvSpPr>
          <p:cNvPr id="10" name="Footer Placeholder 9"/>
          <p:cNvSpPr>
            <a:spLocks noGrp="1"/>
          </p:cNvSpPr>
          <p:nvPr>
            <p:ph type="ftr" sz="quarter" idx="15"/>
          </p:nvPr>
        </p:nvSpPr>
        <p:spPr/>
        <p:txBody>
          <a:bodyPr/>
          <a:lstStyle/>
          <a:p>
            <a:r>
              <a:rPr lang="nl-NL" noProof="0"/>
              <a:t>Sogeti PowerPoint Referentie 2014</a:t>
            </a:r>
            <a:endParaRPr lang="nl-NL" noProof="0" dirty="0"/>
          </a:p>
        </p:txBody>
      </p:sp>
      <p:sp>
        <p:nvSpPr>
          <p:cNvPr id="6" name="Text Placeholder 3"/>
          <p:cNvSpPr>
            <a:spLocks noGrp="1"/>
          </p:cNvSpPr>
          <p:nvPr>
            <p:ph type="body" sz="half" idx="2" hasCustomPrompt="1"/>
          </p:nvPr>
        </p:nvSpPr>
        <p:spPr>
          <a:xfrm>
            <a:off x="455881" y="5626873"/>
            <a:ext cx="11277063" cy="170987"/>
          </a:xfrm>
        </p:spPr>
        <p:txBody>
          <a:bodyPr anchor="t" anchorCtr="0">
            <a:noAutofit/>
          </a:bodyPr>
          <a:lstStyle>
            <a:lvl1pPr marL="0" indent="0">
              <a:lnSpc>
                <a:spcPts val="1333"/>
              </a:lnSpc>
              <a:buNone/>
              <a:defRPr sz="1200" b="0"/>
            </a:lvl1pPr>
            <a:lvl2pPr marL="457086" indent="0">
              <a:buNone/>
              <a:defRPr sz="1200"/>
            </a:lvl2pPr>
            <a:lvl3pPr marL="914171" indent="0">
              <a:buNone/>
              <a:defRPr sz="1000"/>
            </a:lvl3pPr>
            <a:lvl4pPr marL="1371257" indent="0">
              <a:buNone/>
              <a:defRPr sz="900"/>
            </a:lvl4pPr>
            <a:lvl5pPr marL="1828343" indent="0">
              <a:buNone/>
              <a:defRPr sz="900"/>
            </a:lvl5pPr>
            <a:lvl6pPr marL="2285429" indent="0">
              <a:buNone/>
              <a:defRPr sz="900"/>
            </a:lvl6pPr>
            <a:lvl7pPr marL="2742514" indent="0">
              <a:buNone/>
              <a:defRPr sz="900"/>
            </a:lvl7pPr>
            <a:lvl8pPr marL="3199600" indent="0">
              <a:buNone/>
              <a:defRPr sz="900"/>
            </a:lvl8pPr>
            <a:lvl9pPr marL="3656686" indent="0">
              <a:buNone/>
              <a:defRPr sz="900"/>
            </a:lvl9pPr>
          </a:lstStyle>
          <a:p>
            <a:pPr lvl="0"/>
            <a:r>
              <a:rPr lang="nl-NL" noProof="0" dirty="0"/>
              <a:t>Klik hier om een bronvermelding toe te voegen</a:t>
            </a:r>
          </a:p>
        </p:txBody>
      </p:sp>
    </p:spTree>
    <p:extLst>
      <p:ext uri="{BB962C8B-B14F-4D97-AF65-F5344CB8AC3E}">
        <p14:creationId xmlns:p14="http://schemas.microsoft.com/office/powerpoint/2010/main" val="97979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le 1"/>
          <p:cNvSpPr>
            <a:spLocks noGrp="1"/>
          </p:cNvSpPr>
          <p:nvPr>
            <p:ph type="title"/>
          </p:nvPr>
        </p:nvSpPr>
        <p:spPr>
          <a:xfrm>
            <a:off x="455881" y="457200"/>
            <a:ext cx="11277063" cy="914400"/>
          </a:xfrm>
        </p:spPr>
        <p:txBody>
          <a:bodyPr/>
          <a:lstStyle/>
          <a:p>
            <a:r>
              <a:rPr lang="en-US" noProof="0"/>
              <a:t>Click to edit Master title style</a:t>
            </a:r>
            <a:endParaRPr lang="nl-NL" noProof="0"/>
          </a:p>
        </p:txBody>
      </p:sp>
      <p:sp>
        <p:nvSpPr>
          <p:cNvPr id="6" name="Text Placeholder 3"/>
          <p:cNvSpPr>
            <a:spLocks noGrp="1"/>
          </p:cNvSpPr>
          <p:nvPr>
            <p:ph type="body" sz="half" idx="2" hasCustomPrompt="1"/>
          </p:nvPr>
        </p:nvSpPr>
        <p:spPr>
          <a:xfrm>
            <a:off x="455881" y="5630816"/>
            <a:ext cx="11277063" cy="170987"/>
          </a:xfrm>
        </p:spPr>
        <p:txBody>
          <a:bodyPr lIns="0" anchor="t" anchorCtr="0">
            <a:noAutofit/>
          </a:bodyPr>
          <a:lstStyle>
            <a:lvl1pPr marL="0" indent="0">
              <a:lnSpc>
                <a:spcPts val="1333"/>
              </a:lnSpc>
              <a:buNone/>
              <a:defRPr sz="1200" b="0" baseline="0"/>
            </a:lvl1pPr>
            <a:lvl2pPr marL="457086" indent="0">
              <a:buNone/>
              <a:defRPr sz="1200"/>
            </a:lvl2pPr>
            <a:lvl3pPr marL="914171" indent="0">
              <a:buNone/>
              <a:defRPr sz="1000"/>
            </a:lvl3pPr>
            <a:lvl4pPr marL="1371257" indent="0">
              <a:buNone/>
              <a:defRPr sz="900"/>
            </a:lvl4pPr>
            <a:lvl5pPr marL="1828343" indent="0">
              <a:buNone/>
              <a:defRPr sz="900"/>
            </a:lvl5pPr>
            <a:lvl6pPr marL="2285429" indent="0">
              <a:buNone/>
              <a:defRPr sz="900"/>
            </a:lvl6pPr>
            <a:lvl7pPr marL="2742514" indent="0">
              <a:buNone/>
              <a:defRPr sz="900"/>
            </a:lvl7pPr>
            <a:lvl8pPr marL="3199600" indent="0">
              <a:buNone/>
              <a:defRPr sz="900"/>
            </a:lvl8pPr>
            <a:lvl9pPr marL="3656686" indent="0">
              <a:buNone/>
              <a:defRPr sz="900"/>
            </a:lvl9pPr>
          </a:lstStyle>
          <a:p>
            <a:pPr lvl="0"/>
            <a:r>
              <a:rPr lang="nl-NL" noProof="0" dirty="0"/>
              <a:t>Klik hier om een bronvermelding toe te voegen</a:t>
            </a:r>
          </a:p>
        </p:txBody>
      </p:sp>
      <p:sp>
        <p:nvSpPr>
          <p:cNvPr id="10" name="Chart Placeholder 9"/>
          <p:cNvSpPr>
            <a:spLocks noGrp="1"/>
          </p:cNvSpPr>
          <p:nvPr>
            <p:ph type="chart" sz="quarter" idx="14"/>
          </p:nvPr>
        </p:nvSpPr>
        <p:spPr>
          <a:xfrm>
            <a:off x="455881" y="2117357"/>
            <a:ext cx="11277063" cy="3478452"/>
          </a:xfrm>
        </p:spPr>
        <p:txBody>
          <a:bodyPr/>
          <a:lstStyle>
            <a:lvl1pPr>
              <a:lnSpc>
                <a:spcPts val="1866"/>
              </a:lnSpc>
              <a:defRPr sz="1600"/>
            </a:lvl1pPr>
          </a:lstStyle>
          <a:p>
            <a:r>
              <a:rPr lang="en-US" noProof="0"/>
              <a:t>Click icon to add chart</a:t>
            </a:r>
            <a:endParaRPr lang="nl-NL" noProof="0"/>
          </a:p>
        </p:txBody>
      </p:sp>
      <p:sp>
        <p:nvSpPr>
          <p:cNvPr id="11" name="Text Placeholder 60"/>
          <p:cNvSpPr>
            <a:spLocks noGrp="1"/>
          </p:cNvSpPr>
          <p:nvPr>
            <p:ph type="body" sz="quarter" idx="16" hasCustomPrompt="1"/>
          </p:nvPr>
        </p:nvSpPr>
        <p:spPr>
          <a:xfrm>
            <a:off x="455881" y="1714167"/>
            <a:ext cx="11277063" cy="355567"/>
          </a:xfrm>
          <a:noFill/>
        </p:spPr>
        <p:txBody>
          <a:bodyPr vert="horz" lIns="0" tIns="0" rIns="0" bIns="0" rtlCol="0" anchor="t" anchorCtr="0">
            <a:noAutofit/>
          </a:bodyPr>
          <a:lstStyle>
            <a:lvl1pPr marL="0" indent="0" algn="l" defTabSz="914171" rtl="0" eaLnBrk="1" latinLnBrk="0" hangingPunct="1">
              <a:lnSpc>
                <a:spcPts val="2666"/>
              </a:lnSpc>
              <a:spcBef>
                <a:spcPct val="0"/>
              </a:spcBef>
              <a:buNone/>
              <a:defRPr lang="en-US" sz="2399" b="1" kern="1200" dirty="0" smtClean="0">
                <a:solidFill>
                  <a:schemeClr val="tx1"/>
                </a:solidFill>
                <a:latin typeface="+mj-lt"/>
                <a:ea typeface="+mj-ea"/>
                <a:cs typeface="+mj-cs"/>
              </a:defRPr>
            </a:lvl1pPr>
          </a:lstStyle>
          <a:p>
            <a:pPr lvl="0"/>
            <a:r>
              <a:rPr lang="nl-NL" noProof="0" dirty="0"/>
              <a:t>Klik hier om een grafiektitel te maken</a:t>
            </a:r>
          </a:p>
        </p:txBody>
      </p:sp>
      <p:sp>
        <p:nvSpPr>
          <p:cNvPr id="9" name="Slide Number Placeholder 8"/>
          <p:cNvSpPr>
            <a:spLocks noGrp="1"/>
          </p:cNvSpPr>
          <p:nvPr>
            <p:ph type="sldNum" sz="quarter" idx="17"/>
          </p:nvPr>
        </p:nvSpPr>
        <p:spPr/>
        <p:txBody>
          <a:bodyPr/>
          <a:lstStyle/>
          <a:p>
            <a:fld id="{4EACBA47-91FC-4F0F-98EF-AF8B449ABA17}" type="slidenum">
              <a:rPr lang="nl-NL" noProof="0" smtClean="0"/>
              <a:pPr/>
              <a:t>‹#›</a:t>
            </a:fld>
            <a:endParaRPr lang="nl-NL" noProof="0"/>
          </a:p>
        </p:txBody>
      </p:sp>
      <p:sp>
        <p:nvSpPr>
          <p:cNvPr id="12" name="Footer Placeholder 11"/>
          <p:cNvSpPr>
            <a:spLocks noGrp="1"/>
          </p:cNvSpPr>
          <p:nvPr>
            <p:ph type="ftr" sz="quarter" idx="18"/>
          </p:nvPr>
        </p:nvSpPr>
        <p:spPr/>
        <p:txBody>
          <a:bodyPr/>
          <a:lstStyle/>
          <a:p>
            <a:r>
              <a:rPr lang="nl-NL" noProof="0"/>
              <a:t>Sogeti PowerPoint Referentie 2014</a:t>
            </a:r>
          </a:p>
        </p:txBody>
      </p:sp>
    </p:spTree>
    <p:extLst>
      <p:ext uri="{BB962C8B-B14F-4D97-AF65-F5344CB8AC3E}">
        <p14:creationId xmlns:p14="http://schemas.microsoft.com/office/powerpoint/2010/main" val="243039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co slid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EACBA47-91FC-4F0F-98EF-AF8B449ABA17}" type="slidenum">
              <a:rPr lang="nl-NL" noProof="0" smtClean="0"/>
              <a:pPr/>
              <a:t>‹#›</a:t>
            </a:fld>
            <a:endParaRPr lang="nl-NL" noProof="0"/>
          </a:p>
        </p:txBody>
      </p:sp>
      <p:sp>
        <p:nvSpPr>
          <p:cNvPr id="6" name="Footer Placeholder 5"/>
          <p:cNvSpPr>
            <a:spLocks noGrp="1"/>
          </p:cNvSpPr>
          <p:nvPr>
            <p:ph type="ftr" sz="quarter" idx="11"/>
          </p:nvPr>
        </p:nvSpPr>
        <p:spPr/>
        <p:txBody>
          <a:bodyPr/>
          <a:lstStyle/>
          <a:p>
            <a:r>
              <a:rPr lang="nl-NL" noProof="0"/>
              <a:t>Sogeti PowerPoint Referentie 2014</a:t>
            </a:r>
          </a:p>
        </p:txBody>
      </p:sp>
    </p:spTree>
    <p:extLst>
      <p:ext uri="{BB962C8B-B14F-4D97-AF65-F5344CB8AC3E}">
        <p14:creationId xmlns:p14="http://schemas.microsoft.com/office/powerpoint/2010/main" val="128340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to - onderschrift - br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5881" y="460382"/>
            <a:ext cx="11277063" cy="4933977"/>
          </a:xfrm>
        </p:spPr>
        <p:txBody>
          <a:bodyPr/>
          <a:lstStyle>
            <a:lvl1pPr marL="0" indent="0">
              <a:buNone/>
              <a:defRPr sz="1400" b="0"/>
            </a:lvl1pPr>
            <a:lvl2pPr marL="457086" indent="0">
              <a:buNone/>
              <a:defRPr sz="2799"/>
            </a:lvl2pPr>
            <a:lvl3pPr marL="914171" indent="0">
              <a:buNone/>
              <a:defRPr sz="2399"/>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noProof="0" dirty="0"/>
              <a:t>Click icon to add picture</a:t>
            </a:r>
            <a:endParaRPr lang="nl-NL" noProof="0" dirty="0"/>
          </a:p>
        </p:txBody>
      </p:sp>
      <p:sp>
        <p:nvSpPr>
          <p:cNvPr id="10" name="Slide Number Placeholder 9"/>
          <p:cNvSpPr>
            <a:spLocks noGrp="1"/>
          </p:cNvSpPr>
          <p:nvPr>
            <p:ph type="sldNum" sz="quarter" idx="16"/>
          </p:nvPr>
        </p:nvSpPr>
        <p:spPr/>
        <p:txBody>
          <a:bodyPr/>
          <a:lstStyle/>
          <a:p>
            <a:fld id="{4EACBA47-91FC-4F0F-98EF-AF8B449ABA17}" type="slidenum">
              <a:rPr lang="nl-NL" noProof="0" smtClean="0"/>
              <a:pPr/>
              <a:t>‹#›</a:t>
            </a:fld>
            <a:endParaRPr lang="nl-NL" noProof="0"/>
          </a:p>
        </p:txBody>
      </p:sp>
      <p:sp>
        <p:nvSpPr>
          <p:cNvPr id="11" name="Footer Placeholder 10"/>
          <p:cNvSpPr>
            <a:spLocks noGrp="1"/>
          </p:cNvSpPr>
          <p:nvPr>
            <p:ph type="ftr" sz="quarter" idx="17"/>
          </p:nvPr>
        </p:nvSpPr>
        <p:spPr/>
        <p:txBody>
          <a:bodyPr/>
          <a:lstStyle/>
          <a:p>
            <a:r>
              <a:rPr lang="nl-NL" noProof="0"/>
              <a:t>Sogeti PowerPoint Referentie 2014</a:t>
            </a:r>
          </a:p>
        </p:txBody>
      </p:sp>
      <p:sp>
        <p:nvSpPr>
          <p:cNvPr id="6" name="Text Placeholder 60"/>
          <p:cNvSpPr>
            <a:spLocks noGrp="1"/>
          </p:cNvSpPr>
          <p:nvPr>
            <p:ph type="body" sz="quarter" idx="14" hasCustomPrompt="1"/>
          </p:nvPr>
        </p:nvSpPr>
        <p:spPr>
          <a:xfrm>
            <a:off x="455881" y="5394359"/>
            <a:ext cx="11277063" cy="355567"/>
          </a:xfrm>
          <a:noFill/>
        </p:spPr>
        <p:txBody>
          <a:bodyPr vert="horz" lIns="0" tIns="0" rIns="0" bIns="0" rtlCol="0" anchor="b" anchorCtr="0">
            <a:noAutofit/>
          </a:bodyPr>
          <a:lstStyle>
            <a:lvl1pPr marL="0" indent="0" algn="l" defTabSz="914171" rtl="0" eaLnBrk="1" latinLnBrk="0" hangingPunct="1">
              <a:lnSpc>
                <a:spcPts val="1800"/>
              </a:lnSpc>
              <a:spcBef>
                <a:spcPct val="0"/>
              </a:spcBef>
              <a:buNone/>
              <a:defRPr lang="en-US" sz="1600" b="1" kern="1200" dirty="0" smtClean="0">
                <a:solidFill>
                  <a:schemeClr val="tx1"/>
                </a:solidFill>
                <a:latin typeface="+mj-lt"/>
                <a:ea typeface="+mj-ea"/>
                <a:cs typeface="+mj-cs"/>
              </a:defRPr>
            </a:lvl1pPr>
          </a:lstStyle>
          <a:p>
            <a:pPr lvl="0"/>
            <a:r>
              <a:rPr lang="nl-NL" noProof="0" dirty="0"/>
              <a:t>Klik hier voor een onderschrift</a:t>
            </a:r>
          </a:p>
        </p:txBody>
      </p:sp>
      <p:sp>
        <p:nvSpPr>
          <p:cNvPr id="7" name="Text Placeholder 60"/>
          <p:cNvSpPr>
            <a:spLocks noGrp="1"/>
          </p:cNvSpPr>
          <p:nvPr>
            <p:ph type="body" sz="quarter" idx="15" hasCustomPrompt="1"/>
          </p:nvPr>
        </p:nvSpPr>
        <p:spPr>
          <a:xfrm>
            <a:off x="455881" y="5768207"/>
            <a:ext cx="11277063" cy="188085"/>
          </a:xfrm>
        </p:spPr>
        <p:txBody>
          <a:bodyPr vert="horz" lIns="0" tIns="0" rIns="0" bIns="0" rtlCol="0" anchor="t" anchorCtr="0">
            <a:noAutofit/>
          </a:bodyPr>
          <a:lstStyle>
            <a:lvl1pPr marL="0" algn="l" defTabSz="914171" rtl="0" eaLnBrk="1" latinLnBrk="0" hangingPunct="1">
              <a:lnSpc>
                <a:spcPts val="1333"/>
              </a:lnSpc>
              <a:spcBef>
                <a:spcPct val="0"/>
              </a:spcBef>
              <a:buNone/>
              <a:defRPr lang="en-US" sz="1200" b="0" kern="1200" dirty="0" smtClean="0">
                <a:solidFill>
                  <a:schemeClr val="tx1"/>
                </a:solidFill>
                <a:latin typeface="+mn-lt"/>
                <a:ea typeface="+mn-ea"/>
                <a:cs typeface="+mn-cs"/>
              </a:defRPr>
            </a:lvl1pPr>
          </a:lstStyle>
          <a:p>
            <a:pPr lvl="0"/>
            <a:r>
              <a:rPr lang="nl-NL" noProof="0" dirty="0"/>
              <a:t>Klik hier om een bronvermelding toe te voegen</a:t>
            </a:r>
          </a:p>
        </p:txBody>
      </p:sp>
    </p:spTree>
    <p:extLst>
      <p:ext uri="{BB962C8B-B14F-4D97-AF65-F5344CB8AC3E}">
        <p14:creationId xmlns:p14="http://schemas.microsoft.com/office/powerpoint/2010/main" val="311175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Foto's - onderschrift - br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5881" y="460375"/>
            <a:ext cx="5523361" cy="4933984"/>
          </a:xfrm>
        </p:spPr>
        <p:txBody>
          <a:bodyPr/>
          <a:lstStyle>
            <a:lvl1pPr marL="0" indent="0">
              <a:buNone/>
              <a:defRPr sz="1400" b="0"/>
            </a:lvl1pPr>
            <a:lvl2pPr marL="457086" indent="0">
              <a:buNone/>
              <a:defRPr sz="2799"/>
            </a:lvl2pPr>
            <a:lvl3pPr marL="914171" indent="0">
              <a:buNone/>
              <a:defRPr sz="2399"/>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noProof="0"/>
              <a:t>Click icon to add picture</a:t>
            </a:r>
            <a:endParaRPr lang="nl-NL" noProof="0"/>
          </a:p>
        </p:txBody>
      </p:sp>
      <p:sp>
        <p:nvSpPr>
          <p:cNvPr id="53" name="Picture Placeholder 2"/>
          <p:cNvSpPr>
            <a:spLocks noGrp="1"/>
          </p:cNvSpPr>
          <p:nvPr>
            <p:ph type="pic" idx="13"/>
          </p:nvPr>
        </p:nvSpPr>
        <p:spPr>
          <a:xfrm>
            <a:off x="6209583" y="460375"/>
            <a:ext cx="5523361" cy="4933984"/>
          </a:xfrm>
        </p:spPr>
        <p:txBody>
          <a:bodyPr/>
          <a:lstStyle>
            <a:lvl1pPr marL="0" indent="0">
              <a:buNone/>
              <a:defRPr sz="1400" b="0"/>
            </a:lvl1pPr>
            <a:lvl2pPr marL="457086" indent="0">
              <a:buNone/>
              <a:defRPr sz="2799"/>
            </a:lvl2pPr>
            <a:lvl3pPr marL="914171" indent="0">
              <a:buNone/>
              <a:defRPr sz="2399"/>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r>
              <a:rPr lang="en-US" noProof="0"/>
              <a:t>Click icon to add picture</a:t>
            </a:r>
            <a:endParaRPr lang="nl-NL" noProof="0"/>
          </a:p>
        </p:txBody>
      </p:sp>
      <p:sp>
        <p:nvSpPr>
          <p:cNvPr id="13" name="Slide Number Placeholder 12"/>
          <p:cNvSpPr>
            <a:spLocks noGrp="1"/>
          </p:cNvSpPr>
          <p:nvPr>
            <p:ph type="sldNum" sz="quarter" idx="18"/>
          </p:nvPr>
        </p:nvSpPr>
        <p:spPr/>
        <p:txBody>
          <a:bodyPr/>
          <a:lstStyle/>
          <a:p>
            <a:fld id="{4EACBA47-91FC-4F0F-98EF-AF8B449ABA17}" type="slidenum">
              <a:rPr lang="nl-NL" noProof="0" smtClean="0"/>
              <a:pPr/>
              <a:t>‹#›</a:t>
            </a:fld>
            <a:endParaRPr lang="nl-NL" noProof="0"/>
          </a:p>
        </p:txBody>
      </p:sp>
      <p:sp>
        <p:nvSpPr>
          <p:cNvPr id="14" name="Footer Placeholder 13"/>
          <p:cNvSpPr>
            <a:spLocks noGrp="1"/>
          </p:cNvSpPr>
          <p:nvPr>
            <p:ph type="ftr" sz="quarter" idx="19"/>
          </p:nvPr>
        </p:nvSpPr>
        <p:spPr/>
        <p:txBody>
          <a:bodyPr/>
          <a:lstStyle/>
          <a:p>
            <a:r>
              <a:rPr lang="nl-NL" noProof="0"/>
              <a:t>Sogeti PowerPoint Referentie 2014</a:t>
            </a:r>
          </a:p>
        </p:txBody>
      </p:sp>
      <p:sp>
        <p:nvSpPr>
          <p:cNvPr id="8" name="Text Placeholder 60"/>
          <p:cNvSpPr>
            <a:spLocks noGrp="1"/>
          </p:cNvSpPr>
          <p:nvPr>
            <p:ph type="body" sz="quarter" idx="14" hasCustomPrompt="1"/>
          </p:nvPr>
        </p:nvSpPr>
        <p:spPr>
          <a:xfrm>
            <a:off x="455881" y="5394359"/>
            <a:ext cx="5523361" cy="355567"/>
          </a:xfrm>
          <a:noFill/>
        </p:spPr>
        <p:txBody>
          <a:bodyPr vert="horz" lIns="0" tIns="0" rIns="0" bIns="0" rtlCol="0" anchor="b" anchorCtr="0">
            <a:noAutofit/>
          </a:bodyPr>
          <a:lstStyle>
            <a:lvl1pPr marL="0" indent="0" algn="l" defTabSz="914171" rtl="0" eaLnBrk="1" latinLnBrk="0" hangingPunct="1">
              <a:lnSpc>
                <a:spcPts val="1866"/>
              </a:lnSpc>
              <a:spcBef>
                <a:spcPct val="0"/>
              </a:spcBef>
              <a:buNone/>
              <a:defRPr lang="en-US" sz="1600" b="1" kern="1200" dirty="0" smtClean="0">
                <a:solidFill>
                  <a:schemeClr val="tx1"/>
                </a:solidFill>
                <a:latin typeface="+mj-lt"/>
                <a:ea typeface="+mj-ea"/>
                <a:cs typeface="+mj-cs"/>
              </a:defRPr>
            </a:lvl1pPr>
          </a:lstStyle>
          <a:p>
            <a:pPr lvl="0"/>
            <a:r>
              <a:rPr lang="nl-NL" noProof="0" dirty="0"/>
              <a:t>Klik hier voor een onderschrift</a:t>
            </a:r>
          </a:p>
        </p:txBody>
      </p:sp>
      <p:sp>
        <p:nvSpPr>
          <p:cNvPr id="9" name="Text Placeholder 60"/>
          <p:cNvSpPr>
            <a:spLocks noGrp="1"/>
          </p:cNvSpPr>
          <p:nvPr>
            <p:ph type="body" sz="quarter" idx="15" hasCustomPrompt="1"/>
          </p:nvPr>
        </p:nvSpPr>
        <p:spPr>
          <a:xfrm>
            <a:off x="455881" y="5768207"/>
            <a:ext cx="5523361" cy="187200"/>
          </a:xfrm>
        </p:spPr>
        <p:txBody>
          <a:bodyPr vert="horz" lIns="0" tIns="0" rIns="0" bIns="0" rtlCol="0" anchor="t" anchorCtr="0">
            <a:noAutofit/>
          </a:bodyPr>
          <a:lstStyle>
            <a:lvl1pPr marL="0" indent="0" algn="l" defTabSz="914171" rtl="0" eaLnBrk="1" latinLnBrk="0" hangingPunct="1">
              <a:lnSpc>
                <a:spcPts val="1333"/>
              </a:lnSpc>
              <a:spcBef>
                <a:spcPct val="0"/>
              </a:spcBef>
              <a:buNone/>
              <a:defRPr lang="en-US" sz="1200" b="0" kern="1200" dirty="0" smtClean="0">
                <a:solidFill>
                  <a:schemeClr val="tx1"/>
                </a:solidFill>
                <a:latin typeface="+mn-lt"/>
                <a:ea typeface="+mn-ea"/>
                <a:cs typeface="+mn-cs"/>
              </a:defRPr>
            </a:lvl1pPr>
          </a:lstStyle>
          <a:p>
            <a:pPr lvl="0"/>
            <a:r>
              <a:rPr lang="nl-NL" noProof="0" dirty="0"/>
              <a:t>Klik hier om een bronvermelding toe te voegen</a:t>
            </a:r>
          </a:p>
        </p:txBody>
      </p:sp>
      <p:sp>
        <p:nvSpPr>
          <p:cNvPr id="10" name="Text Placeholder 60"/>
          <p:cNvSpPr>
            <a:spLocks noGrp="1"/>
          </p:cNvSpPr>
          <p:nvPr>
            <p:ph type="body" sz="quarter" idx="16" hasCustomPrompt="1"/>
          </p:nvPr>
        </p:nvSpPr>
        <p:spPr>
          <a:xfrm>
            <a:off x="6209583" y="5394359"/>
            <a:ext cx="5523361" cy="355567"/>
          </a:xfrm>
          <a:noFill/>
        </p:spPr>
        <p:txBody>
          <a:bodyPr vert="horz" lIns="0" tIns="0" rIns="0" bIns="0" rtlCol="0" anchor="b" anchorCtr="0">
            <a:noAutofit/>
          </a:bodyPr>
          <a:lstStyle>
            <a:lvl1pPr marL="0" indent="0" algn="l" defTabSz="914171" rtl="0" eaLnBrk="1" latinLnBrk="0" hangingPunct="1">
              <a:lnSpc>
                <a:spcPts val="1866"/>
              </a:lnSpc>
              <a:spcBef>
                <a:spcPct val="0"/>
              </a:spcBef>
              <a:buNone/>
              <a:defRPr lang="en-US" sz="1600" b="1" kern="1200" dirty="0" smtClean="0">
                <a:solidFill>
                  <a:schemeClr val="tx1"/>
                </a:solidFill>
                <a:latin typeface="+mj-lt"/>
                <a:ea typeface="+mj-ea"/>
                <a:cs typeface="+mj-cs"/>
              </a:defRPr>
            </a:lvl1pPr>
          </a:lstStyle>
          <a:p>
            <a:pPr lvl="0"/>
            <a:r>
              <a:rPr lang="nl-NL" noProof="0" dirty="0"/>
              <a:t>Klik hier voor een onderschrift</a:t>
            </a:r>
          </a:p>
        </p:txBody>
      </p:sp>
      <p:sp>
        <p:nvSpPr>
          <p:cNvPr id="11" name="Text Placeholder 60"/>
          <p:cNvSpPr>
            <a:spLocks noGrp="1"/>
          </p:cNvSpPr>
          <p:nvPr>
            <p:ph type="body" sz="quarter" idx="17" hasCustomPrompt="1"/>
          </p:nvPr>
        </p:nvSpPr>
        <p:spPr>
          <a:xfrm>
            <a:off x="6209583" y="5768207"/>
            <a:ext cx="5523361" cy="187200"/>
          </a:xfrm>
        </p:spPr>
        <p:txBody>
          <a:bodyPr vert="horz" lIns="0" tIns="0" rIns="0" bIns="0" rtlCol="0" anchor="t" anchorCtr="0">
            <a:noAutofit/>
          </a:bodyPr>
          <a:lstStyle>
            <a:lvl1pPr marL="0" indent="0" algn="l" defTabSz="914171" rtl="0" eaLnBrk="1" latinLnBrk="0" hangingPunct="1">
              <a:lnSpc>
                <a:spcPts val="1333"/>
              </a:lnSpc>
              <a:spcBef>
                <a:spcPct val="0"/>
              </a:spcBef>
              <a:buNone/>
              <a:defRPr lang="en-US" sz="1200" b="0" kern="1200" dirty="0" smtClean="0">
                <a:solidFill>
                  <a:schemeClr val="tx1"/>
                </a:solidFill>
                <a:latin typeface="+mn-lt"/>
                <a:ea typeface="+mn-ea"/>
                <a:cs typeface="+mn-cs"/>
              </a:defRPr>
            </a:lvl1pPr>
          </a:lstStyle>
          <a:p>
            <a:pPr lvl="0"/>
            <a:r>
              <a:rPr lang="nl-NL" noProof="0" dirty="0"/>
              <a:t>Klik hier om een bronvermelding toe te voegen</a:t>
            </a:r>
          </a:p>
        </p:txBody>
      </p:sp>
    </p:spTree>
    <p:extLst>
      <p:ext uri="{BB962C8B-B14F-4D97-AF65-F5344CB8AC3E}">
        <p14:creationId xmlns:p14="http://schemas.microsoft.com/office/powerpoint/2010/main" val="86404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Powerslide">
    <p:spTree>
      <p:nvGrpSpPr>
        <p:cNvPr id="1" name=""/>
        <p:cNvGrpSpPr/>
        <p:nvPr/>
      </p:nvGrpSpPr>
      <p:grpSpPr>
        <a:xfrm>
          <a:off x="0" y="0"/>
          <a:ext cx="0" cy="0"/>
          <a:chOff x="0" y="0"/>
          <a:chExt cx="0" cy="0"/>
        </a:xfrm>
      </p:grpSpPr>
      <p:sp>
        <p:nvSpPr>
          <p:cNvPr id="15" name="Rectangle 14"/>
          <p:cNvSpPr/>
          <p:nvPr userDrawn="1"/>
        </p:nvSpPr>
        <p:spPr bwMode="gray">
          <a:xfrm>
            <a:off x="455881" y="456002"/>
            <a:ext cx="11277063" cy="52939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 name="Title 1"/>
          <p:cNvSpPr>
            <a:spLocks noGrp="1"/>
          </p:cNvSpPr>
          <p:nvPr>
            <p:ph type="title"/>
          </p:nvPr>
        </p:nvSpPr>
        <p:spPr>
          <a:xfrm>
            <a:off x="868890" y="701206"/>
            <a:ext cx="10451046" cy="5048709"/>
          </a:xfrm>
          <a:noFill/>
        </p:spPr>
        <p:txBody>
          <a:bodyPr lIns="0" rIns="0" anchor="t" anchorCtr="0"/>
          <a:lstStyle>
            <a:lvl1pPr>
              <a:lnSpc>
                <a:spcPts val="4799"/>
              </a:lnSpc>
              <a:defRPr sz="3999"/>
            </a:lvl1pPr>
          </a:lstStyle>
          <a:p>
            <a:r>
              <a:rPr lang="en-US" noProof="0" dirty="0"/>
              <a:t>Click to edit Master title style</a:t>
            </a:r>
            <a:endParaRPr lang="nl-NL" noProof="0" dirty="0"/>
          </a:p>
        </p:txBody>
      </p:sp>
      <p:grpSp>
        <p:nvGrpSpPr>
          <p:cNvPr id="29" name="Group 28"/>
          <p:cNvGrpSpPr/>
          <p:nvPr userDrawn="1"/>
        </p:nvGrpSpPr>
        <p:grpSpPr bwMode="gray">
          <a:xfrm>
            <a:off x="457083" y="6078953"/>
            <a:ext cx="1479485" cy="321563"/>
            <a:chOff x="2749538" y="2279310"/>
            <a:chExt cx="1479870" cy="321562"/>
          </a:xfrm>
        </p:grpSpPr>
        <p:sp>
          <p:nvSpPr>
            <p:cNvPr id="30" name="Rectangle 29"/>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31" name="Rectangle 30"/>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32" name="Group 21"/>
            <p:cNvGrpSpPr/>
            <p:nvPr/>
          </p:nvGrpSpPr>
          <p:grpSpPr bwMode="gray">
            <a:xfrm>
              <a:off x="3373209" y="2357164"/>
              <a:ext cx="726277" cy="153325"/>
              <a:chOff x="-1490663" y="3248025"/>
              <a:chExt cx="2857501" cy="603250"/>
            </a:xfrm>
          </p:grpSpPr>
          <p:sp>
            <p:nvSpPr>
              <p:cNvPr id="34" name="Freeform 33"/>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35" name="Freeform 34"/>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36" name="Freeform 35"/>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37" name="Freeform 36"/>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38" name="Freeform 37"/>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39" name="Freeform 38"/>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
          <p:nvSpPr>
            <p:cNvPr id="33" name="Freeform 13"/>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Tree>
    <p:extLst>
      <p:ext uri="{BB962C8B-B14F-4D97-AF65-F5344CB8AC3E}">
        <p14:creationId xmlns:p14="http://schemas.microsoft.com/office/powerpoint/2010/main" val="364392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p:spPr>
        <p:txBody>
          <a:bodyPr/>
          <a:lstStyle>
            <a:lvl1pPr marL="0" indent="0">
              <a:buNone/>
              <a:defRPr/>
            </a:lvl1pPr>
          </a:lstStyle>
          <a:p>
            <a:endParaRPr lang="en-US"/>
          </a:p>
        </p:txBody>
      </p:sp>
      <p:sp>
        <p:nvSpPr>
          <p:cNvPr id="9" name="Title 1"/>
          <p:cNvSpPr>
            <a:spLocks noGrp="1"/>
          </p:cNvSpPr>
          <p:nvPr>
            <p:ph type="title" hasCustomPrompt="1"/>
          </p:nvPr>
        </p:nvSpPr>
        <p:spPr>
          <a:xfrm>
            <a:off x="269234" y="291069"/>
            <a:ext cx="5377085" cy="1793104"/>
          </a:xfrm>
          <a:noFill/>
        </p:spPr>
        <p:txBody>
          <a:bodyPr lIns="182880" tIns="146304" rIns="182880" bIns="146304" anchor="t" anchorCtr="0"/>
          <a:lstStyle>
            <a:lvl1pPr>
              <a:defRPr sz="4704" spc="-99"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205710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768" y="1825625"/>
            <a:ext cx="5491812"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half" idx="10"/>
          </p:nvPr>
        </p:nvSpPr>
        <p:spPr>
          <a:xfrm>
            <a:off x="6334435" y="1825625"/>
            <a:ext cx="5491812"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339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641475"/>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12745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5" name="Footer Placeholder 10">
            <a:extLst>
              <a:ext uri="{FF2B5EF4-FFF2-40B4-BE49-F238E27FC236}">
                <a16:creationId xmlns:a16="http://schemas.microsoft.com/office/drawing/2014/main" id="{F6F1EC02-D00C-4036-BCCB-62A08E3827BA}"/>
              </a:ext>
            </a:extLst>
          </p:cNvPr>
          <p:cNvSpPr>
            <a:spLocks noGrp="1"/>
          </p:cNvSpPr>
          <p:nvPr>
            <p:ph type="ftr" sz="quarter" idx="17"/>
          </p:nvPr>
        </p:nvSpPr>
        <p:spPr>
          <a:xfrm>
            <a:off x="2512178" y="6144036"/>
            <a:ext cx="8825893" cy="256480"/>
          </a:xfrm>
        </p:spPr>
        <p:txBody>
          <a:bodyPr/>
          <a:lstStyle/>
          <a:p>
            <a:r>
              <a:rPr lang="nl-NL" noProof="0"/>
              <a:t>Sogeti Modern Workplace</a:t>
            </a:r>
          </a:p>
        </p:txBody>
      </p:sp>
    </p:spTree>
    <p:extLst>
      <p:ext uri="{BB962C8B-B14F-4D97-AF65-F5344CB8AC3E}">
        <p14:creationId xmlns:p14="http://schemas.microsoft.com/office/powerpoint/2010/main" val="38516960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6779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234" y="1187645"/>
            <a:ext cx="11652043"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931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38673" y="6386961"/>
            <a:ext cx="1110207" cy="360000"/>
          </a:xfrm>
          <a:prstGeom prst="rect">
            <a:avLst/>
          </a:prstGeom>
        </p:spPr>
      </p:pic>
    </p:spTree>
    <p:extLst>
      <p:ext uri="{BB962C8B-B14F-4D97-AF65-F5344CB8AC3E}">
        <p14:creationId xmlns:p14="http://schemas.microsoft.com/office/powerpoint/2010/main" val="27657537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5213551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37532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536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57875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977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5840444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p>
        </p:txBody>
      </p:sp>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p>
        </p:txBody>
      </p:sp>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
        <p:nvSpPr>
          <p:cNvPr id="6" name="Rectangle 5"/>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
        <p:nvSpPr>
          <p:cNvPr id="9" name="Rectangle 8"/>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3549262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77448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ase study sldie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31118"/>
            <a:ext cx="12188825" cy="373063"/>
          </a:xfrm>
          <a:prstGeom prst="rect">
            <a:avLst/>
          </a:prstGeom>
        </p:spPr>
        <p:txBody>
          <a:bodyPr lIns="320040" tIns="53325" rIns="53325" bIns="53325" anchor="t">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143710170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4360" y="-1772"/>
            <a:ext cx="12178783" cy="6859772"/>
          </a:xfrm>
          <a:prstGeom prst="rect">
            <a:avLst/>
          </a:prstGeom>
        </p:spPr>
      </p:pic>
      <p:sp>
        <p:nvSpPr>
          <p:cNvPr id="13" name="Rectangle 12"/>
          <p:cNvSpPr/>
          <p:nvPr/>
        </p:nvSpPr>
        <p:spPr bwMode="gray">
          <a:xfrm>
            <a:off x="150812" y="2057400"/>
            <a:ext cx="5867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0813" y="198358"/>
            <a:ext cx="1946596" cy="716042"/>
          </a:xfrm>
          <a:prstGeom prst="rect">
            <a:avLst/>
          </a:prstGeom>
        </p:spPr>
      </p:pic>
    </p:spTree>
    <p:extLst>
      <p:ext uri="{BB962C8B-B14F-4D97-AF65-F5344CB8AC3E}">
        <p14:creationId xmlns:p14="http://schemas.microsoft.com/office/powerpoint/2010/main" val="306397558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6" y="2819606"/>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23102" y="5872356"/>
            <a:ext cx="1088572" cy="985644"/>
          </a:xfrm>
          <a:prstGeom prst="rect">
            <a:avLst/>
          </a:prstGeom>
        </p:spPr>
      </p:pic>
    </p:spTree>
    <p:extLst>
      <p:ext uri="{BB962C8B-B14F-4D97-AF65-F5344CB8AC3E}">
        <p14:creationId xmlns:p14="http://schemas.microsoft.com/office/powerpoint/2010/main" val="104898058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83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7">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051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7713" y="2984908"/>
            <a:ext cx="5145086" cy="1218795"/>
          </a:xfrm>
        </p:spPr>
        <p:txBody>
          <a:bodyPr anchor="b"/>
          <a:lstStyle>
            <a:lvl1pPr marL="0" indent="0" algn="r">
              <a:buNone/>
              <a:defRPr sz="4399" spc="-150">
                <a:solidFill>
                  <a:schemeClr val="bg1"/>
                </a:solidFill>
                <a:latin typeface="Segoe UI Light" pitchFamily="34" charset="0"/>
              </a:defRPr>
            </a:lvl1pPr>
            <a:lvl2pPr marL="304647" indent="0">
              <a:buNone/>
              <a:defRPr sz="3199">
                <a:solidFill>
                  <a:schemeClr val="bg1"/>
                </a:solidFill>
                <a:latin typeface="Segoe UI Light" pitchFamily="34" charset="0"/>
              </a:defRPr>
            </a:lvl2pPr>
            <a:lvl3pPr marL="599773" indent="0">
              <a:buNone/>
              <a:defRPr sz="2799">
                <a:solidFill>
                  <a:schemeClr val="bg1"/>
                </a:solidFill>
                <a:latin typeface="Segoe UI Light" pitchFamily="34" charset="0"/>
              </a:defRPr>
            </a:lvl3pPr>
            <a:lvl4pPr marL="853646" indent="0">
              <a:buNone/>
              <a:defRPr sz="2399">
                <a:solidFill>
                  <a:schemeClr val="bg1"/>
                </a:solidFill>
                <a:latin typeface="Segoe UI Light" pitchFamily="34" charset="0"/>
              </a:defRPr>
            </a:lvl4pPr>
            <a:lvl5pPr marL="1147184" indent="0">
              <a:buNone/>
              <a:defRPr sz="2399">
                <a:solidFill>
                  <a:schemeClr val="bg1"/>
                </a:solidFill>
                <a:latin typeface="Segoe UI Light" pitchFamily="34" charset="0"/>
              </a:defRPr>
            </a:lvl5pPr>
          </a:lstStyle>
          <a:p>
            <a:pPr lvl="0"/>
            <a:r>
              <a:rPr lang="en-US" dirty="0"/>
              <a:t>Click to edit Master text styles</a:t>
            </a:r>
          </a:p>
        </p:txBody>
      </p:sp>
      <p:sp>
        <p:nvSpPr>
          <p:cNvPr id="11" name="Text Placeholder 10"/>
          <p:cNvSpPr>
            <a:spLocks noGrp="1"/>
          </p:cNvSpPr>
          <p:nvPr>
            <p:ph type="body" sz="quarter" idx="11"/>
          </p:nvPr>
        </p:nvSpPr>
        <p:spPr>
          <a:xfrm>
            <a:off x="747713" y="4260533"/>
            <a:ext cx="5145086" cy="387798"/>
          </a:xfrm>
        </p:spPr>
        <p:txBody>
          <a:bodyPr anchor="ctr"/>
          <a:lstStyle>
            <a:lvl1pPr marL="0" indent="0" algn="r" defTabSz="913904"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904"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904"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904"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904" rtl="0" eaLnBrk="1" latinLnBrk="0" hangingPunct="1">
              <a:lnSpc>
                <a:spcPct val="90000"/>
              </a:lnSpc>
              <a:spcBef>
                <a:spcPct val="20000"/>
              </a:spcBef>
              <a:buClrTx/>
              <a:buSzPct val="90000"/>
              <a:buFont typeface="Arial" pitchFamily="34" charset="0"/>
              <a:buNone/>
              <a:defRPr lang="en-US" sz="2799" kern="1200" dirty="0">
                <a:ln w="3175">
                  <a:noFill/>
                </a:ln>
                <a:solidFill>
                  <a:schemeClr val="bg2"/>
                </a:solidFill>
                <a:latin typeface="Segoe UI" pitchFamily="34" charset="0"/>
                <a:ea typeface="Segoe UI" pitchFamily="34" charset="0"/>
                <a:cs typeface="Segoe UI" pitchFamily="34" charset="0"/>
              </a:defRPr>
            </a:lvl5pPr>
          </a:lstStyle>
          <a:p>
            <a:pPr lvl="0"/>
            <a:r>
              <a:rPr lang="en-US" dirty="0"/>
              <a:t>Click to edit Master text styles</a:t>
            </a:r>
          </a:p>
        </p:txBody>
      </p:sp>
      <p:sp>
        <p:nvSpPr>
          <p:cNvPr id="15" name="Text Placeholder 14"/>
          <p:cNvSpPr>
            <a:spLocks noGrp="1"/>
          </p:cNvSpPr>
          <p:nvPr>
            <p:ph type="body" sz="quarter" idx="12"/>
          </p:nvPr>
        </p:nvSpPr>
        <p:spPr>
          <a:xfrm>
            <a:off x="747715" y="5003801"/>
            <a:ext cx="10693400" cy="300062"/>
          </a:xfrm>
        </p:spPr>
        <p:txBody>
          <a:bodyPr lIns="91421" tIns="45710" rIns="91421" bIns="45710"/>
          <a:lstStyle>
            <a:lvl1pPr marL="0" indent="0" algn="l" defTabSz="913939" rtl="0" eaLnBrk="1" latinLnBrk="0" hangingPunct="1">
              <a:spcBef>
                <a:spcPct val="20000"/>
              </a:spcBef>
              <a:buClr>
                <a:srgbClr val="397FBB"/>
              </a:buClr>
              <a:buSzPct val="105000"/>
              <a:buFontTx/>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939"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939"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939"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939" rtl="0" eaLnBrk="1" latinLnBrk="0" hangingPunct="1">
              <a:spcBef>
                <a:spcPct val="20000"/>
              </a:spcBef>
              <a:buClr>
                <a:srgbClr val="397FBB"/>
              </a:buClr>
              <a:buSzPct val="105000"/>
              <a:buFontTx/>
              <a:buNone/>
              <a:defRPr lang="en-US" sz="15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a:t>Click to edit Master text styles</a:t>
            </a:r>
          </a:p>
        </p:txBody>
      </p:sp>
      <p:sp>
        <p:nvSpPr>
          <p:cNvPr id="19" name="Text Placeholder 18"/>
          <p:cNvSpPr>
            <a:spLocks noGrp="1"/>
          </p:cNvSpPr>
          <p:nvPr>
            <p:ph type="body" sz="quarter" idx="15"/>
          </p:nvPr>
        </p:nvSpPr>
        <p:spPr>
          <a:xfrm>
            <a:off x="747715" y="5351706"/>
            <a:ext cx="10693400" cy="300062"/>
          </a:xfrm>
        </p:spPr>
        <p:txBody>
          <a:bodyPr lIns="91421" tIns="45710" rIns="91421" bIns="45710"/>
          <a:lstStyle>
            <a:lvl1pPr marL="290368" indent="-290368">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lvl="0"/>
            <a:r>
              <a:rPr lang="en-US" dirty="0"/>
              <a:t>Click to edit Master text styles</a:t>
            </a:r>
          </a:p>
        </p:txBody>
      </p:sp>
      <p:sp>
        <p:nvSpPr>
          <p:cNvPr id="24" name="Picture Placeholder 23"/>
          <p:cNvSpPr>
            <a:spLocks noGrp="1"/>
          </p:cNvSpPr>
          <p:nvPr>
            <p:ph type="pic" sz="quarter" idx="16"/>
          </p:nvPr>
        </p:nvSpPr>
        <p:spPr>
          <a:xfrm>
            <a:off x="6277295" y="2915302"/>
            <a:ext cx="2472855" cy="443198"/>
          </a:xfrm>
          <a:solidFill>
            <a:schemeClr val="bg1">
              <a:lumMod val="95000"/>
            </a:schemeClr>
          </a:solidFill>
          <a:ln>
            <a:noFill/>
          </a:ln>
        </p:spPr>
        <p:txBody>
          <a:bodyPr anchor="ctr"/>
          <a:lstStyle>
            <a:lvl1pPr marL="0" indent="0" algn="ctr">
              <a:buNone/>
              <a:defRPr/>
            </a:lvl1pPr>
          </a:lstStyle>
          <a:p>
            <a:pPr lvl="0"/>
            <a:endParaRPr lang="en-US" noProof="0" dirty="0"/>
          </a:p>
        </p:txBody>
      </p:sp>
      <p:sp>
        <p:nvSpPr>
          <p:cNvPr id="27" name="Picture Placeholder 26"/>
          <p:cNvSpPr>
            <a:spLocks noGrp="1"/>
          </p:cNvSpPr>
          <p:nvPr>
            <p:ph type="pic" sz="quarter" idx="17"/>
          </p:nvPr>
        </p:nvSpPr>
        <p:spPr>
          <a:xfrm>
            <a:off x="8932863" y="2915302"/>
            <a:ext cx="2508251" cy="443198"/>
          </a:xfrm>
          <a:solidFill>
            <a:schemeClr val="bg1">
              <a:lumMod val="95000"/>
            </a:schemeClr>
          </a:solidFill>
        </p:spPr>
        <p:txBody>
          <a:bodyPr anchor="ctr"/>
          <a:lstStyle>
            <a:lvl1pPr marL="0" indent="0" algn="ctr">
              <a:buNone/>
              <a:defRPr/>
            </a:lvl1pPr>
          </a:lstStyle>
          <a:p>
            <a:pPr lvl="0"/>
            <a:endParaRPr lang="en-US" noProof="0" dirty="0"/>
          </a:p>
        </p:txBody>
      </p:sp>
    </p:spTree>
    <p:extLst>
      <p:ext uri="{BB962C8B-B14F-4D97-AF65-F5344CB8AC3E}">
        <p14:creationId xmlns:p14="http://schemas.microsoft.com/office/powerpoint/2010/main" val="448975044"/>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0533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Blank Accent Color 3">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5410" y="6591236"/>
            <a:ext cx="689130" cy="253595"/>
          </a:xfrm>
          <a:prstGeom prst="rect">
            <a:avLst/>
          </a:prstGeom>
        </p:spPr>
      </p:pic>
    </p:spTree>
    <p:extLst>
      <p:ext uri="{BB962C8B-B14F-4D97-AF65-F5344CB8AC3E}">
        <p14:creationId xmlns:p14="http://schemas.microsoft.com/office/powerpoint/2010/main" val="76231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36279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Gov PPT 1 Text w Icon">
    <p:spTree>
      <p:nvGrpSpPr>
        <p:cNvPr id="1" name=""/>
        <p:cNvGrpSpPr/>
        <p:nvPr/>
      </p:nvGrpSpPr>
      <p:grpSpPr>
        <a:xfrm>
          <a:off x="0" y="0"/>
          <a:ext cx="0" cy="0"/>
          <a:chOff x="0" y="0"/>
          <a:chExt cx="0" cy="0"/>
        </a:xfrm>
      </p:grpSpPr>
      <p:sp>
        <p:nvSpPr>
          <p:cNvPr id="9" name="Content Placeholder 2"/>
          <p:cNvSpPr>
            <a:spLocks noGrp="1"/>
          </p:cNvSpPr>
          <p:nvPr>
            <p:ph idx="10" hasCustomPrompt="1"/>
          </p:nvPr>
        </p:nvSpPr>
        <p:spPr>
          <a:xfrm>
            <a:off x="357269" y="210214"/>
            <a:ext cx="8741673" cy="738664"/>
          </a:xfrm>
          <a:prstGeom prst="rect">
            <a:avLst/>
          </a:prstGeom>
        </p:spPr>
        <p:txBody>
          <a:bodyPr lIns="91440" tIns="91440" rIns="91428" bIns="91440">
            <a:noAutofit/>
          </a:bodyPr>
          <a:lstStyle>
            <a:lvl1pPr marL="0" indent="0">
              <a:buNone/>
              <a:defRPr sz="3199">
                <a:solidFill>
                  <a:schemeClr val="tx1"/>
                </a:solidFill>
                <a:latin typeface="Segoe UI" pitchFamily="34" charset="0"/>
                <a:cs typeface="Segoe UI" pitchFamily="34" charset="0"/>
              </a:defRPr>
            </a:lvl1pPr>
          </a:lstStyle>
          <a:p>
            <a:pPr lvl="0"/>
            <a:r>
              <a:rPr lang="en-US" dirty="0"/>
              <a:t>Punchy section head goes here</a:t>
            </a:r>
          </a:p>
        </p:txBody>
      </p:sp>
    </p:spTree>
    <p:extLst>
      <p:ext uri="{BB962C8B-B14F-4D97-AF65-F5344CB8AC3E}">
        <p14:creationId xmlns:p14="http://schemas.microsoft.com/office/powerpoint/2010/main" val="3227383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Color Block Header on Left &amp; Text on Right ">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4072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7"/>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pPr defTabSz="914363"/>
            <a:endParaRPr lang="en-US" sz="1800" dirty="0">
              <a:solidFill>
                <a:prstClr val="black">
                  <a:tint val="75000"/>
                </a:prstClr>
              </a:solidFill>
            </a:endParaRPr>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pPr defTabSz="914363"/>
            <a:endParaRPr lang="en-US" sz="1800" dirty="0">
              <a:solidFill>
                <a:prstClr val="black">
                  <a:tint val="75000"/>
                </a:prstClr>
              </a:solidFill>
            </a:endParaRPr>
          </a:p>
        </p:txBody>
      </p:sp>
      <p:sp>
        <p:nvSpPr>
          <p:cNvPr id="6" name="Slide Number Placeholder 5"/>
          <p:cNvSpPr>
            <a:spLocks noGrp="1"/>
          </p:cNvSpPr>
          <p:nvPr>
            <p:ph type="sldNum" sz="quarter" idx="12"/>
          </p:nvPr>
        </p:nvSpPr>
        <p:spPr>
          <a:xfrm>
            <a:off x="8608358" y="6356351"/>
            <a:ext cx="2742486" cy="365125"/>
          </a:xfrm>
          <a:prstGeom prst="rect">
            <a:avLst/>
          </a:prstGeom>
        </p:spPr>
        <p:txBody>
          <a:bodyPr/>
          <a:lstStyle/>
          <a:p>
            <a:pPr defTabSz="914363"/>
            <a:fld id="{9A1BE74A-EFDA-440C-BC8D-662E71DCE101}" type="slidenum">
              <a:rPr lang="en-US" sz="1800">
                <a:solidFill>
                  <a:prstClr val="black">
                    <a:tint val="75000"/>
                  </a:prstClr>
                </a:solidFill>
              </a:rPr>
              <a:pPr defTabSz="914363"/>
              <a:t>‹#›</a:t>
            </a:fld>
            <a:endParaRPr lang="en-US" sz="1800" dirty="0">
              <a:solidFill>
                <a:prstClr val="black">
                  <a:tint val="75000"/>
                </a:prstClr>
              </a:solidFill>
            </a:endParaRPr>
          </a:p>
        </p:txBody>
      </p:sp>
    </p:spTree>
    <p:extLst>
      <p:ext uri="{BB962C8B-B14F-4D97-AF65-F5344CB8AC3E}">
        <p14:creationId xmlns:p14="http://schemas.microsoft.com/office/powerpoint/2010/main" val="639573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252310401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7"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23102" y="5872356"/>
            <a:ext cx="1088572" cy="985644"/>
          </a:xfrm>
          <a:prstGeom prst="rect">
            <a:avLst/>
          </a:prstGeom>
        </p:spPr>
      </p:pic>
    </p:spTree>
    <p:extLst>
      <p:ext uri="{BB962C8B-B14F-4D97-AF65-F5344CB8AC3E}">
        <p14:creationId xmlns:p14="http://schemas.microsoft.com/office/powerpoint/2010/main" val="176600795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928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7">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437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7395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lank Accent Color 3">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5410" y="6591238"/>
            <a:ext cx="689130" cy="253595"/>
          </a:xfrm>
          <a:prstGeom prst="rect">
            <a:avLst/>
          </a:prstGeom>
        </p:spPr>
      </p:pic>
    </p:spTree>
    <p:extLst>
      <p:ext uri="{BB962C8B-B14F-4D97-AF65-F5344CB8AC3E}">
        <p14:creationId xmlns:p14="http://schemas.microsoft.com/office/powerpoint/2010/main" val="393158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4533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Gov PPT 1 Text w Icon">
    <p:spTree>
      <p:nvGrpSpPr>
        <p:cNvPr id="1" name=""/>
        <p:cNvGrpSpPr/>
        <p:nvPr/>
      </p:nvGrpSpPr>
      <p:grpSpPr>
        <a:xfrm>
          <a:off x="0" y="0"/>
          <a:ext cx="0" cy="0"/>
          <a:chOff x="0" y="0"/>
          <a:chExt cx="0" cy="0"/>
        </a:xfrm>
      </p:grpSpPr>
      <p:sp>
        <p:nvSpPr>
          <p:cNvPr id="9" name="Content Placeholder 2"/>
          <p:cNvSpPr>
            <a:spLocks noGrp="1"/>
          </p:cNvSpPr>
          <p:nvPr>
            <p:ph idx="10" hasCustomPrompt="1"/>
          </p:nvPr>
        </p:nvSpPr>
        <p:spPr>
          <a:xfrm>
            <a:off x="357270" y="210214"/>
            <a:ext cx="8741673" cy="738664"/>
          </a:xfrm>
          <a:prstGeom prst="rect">
            <a:avLst/>
          </a:prstGeom>
        </p:spPr>
        <p:txBody>
          <a:bodyPr lIns="91440" tIns="91440" rIns="91428" bIns="91440">
            <a:noAutofit/>
          </a:bodyPr>
          <a:lstStyle>
            <a:lvl1pPr marL="0" indent="0">
              <a:buNone/>
              <a:defRPr sz="3198">
                <a:solidFill>
                  <a:schemeClr val="tx1"/>
                </a:solidFill>
                <a:latin typeface="Segoe UI" pitchFamily="34" charset="0"/>
                <a:cs typeface="Segoe UI" pitchFamily="34" charset="0"/>
              </a:defRPr>
            </a:lvl1pPr>
          </a:lstStyle>
          <a:p>
            <a:pPr lvl="0"/>
            <a:r>
              <a:rPr lang="en-US" dirty="0"/>
              <a:t>Punchy section head goes here</a:t>
            </a:r>
          </a:p>
        </p:txBody>
      </p:sp>
    </p:spTree>
    <p:extLst>
      <p:ext uri="{BB962C8B-B14F-4D97-AF65-F5344CB8AC3E}">
        <p14:creationId xmlns:p14="http://schemas.microsoft.com/office/powerpoint/2010/main" val="318018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882" indent="0" algn="ctr">
              <a:buNone/>
              <a:defRPr sz="1998"/>
            </a:lvl2pPr>
            <a:lvl3pPr marL="913764" indent="0" algn="ctr">
              <a:buNone/>
              <a:defRPr sz="1798"/>
            </a:lvl3pPr>
            <a:lvl4pPr marL="1370646" indent="0" algn="ctr">
              <a:buNone/>
              <a:defRPr sz="1600"/>
            </a:lvl4pPr>
            <a:lvl5pPr marL="1827528" indent="0" algn="ctr">
              <a:buNone/>
              <a:defRPr sz="1600"/>
            </a:lvl5pPr>
            <a:lvl6pPr marL="2284408" indent="0" algn="ctr">
              <a:buNone/>
              <a:defRPr sz="1600"/>
            </a:lvl6pPr>
            <a:lvl7pPr marL="2741291" indent="0" algn="ctr">
              <a:buNone/>
              <a:defRPr sz="1600"/>
            </a:lvl7pPr>
            <a:lvl8pPr marL="3198173" indent="0" algn="ctr">
              <a:buNone/>
              <a:defRPr sz="1600"/>
            </a:lvl8pPr>
            <a:lvl9pPr marL="36550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pPr defTabSz="914089"/>
            <a:endParaRPr lang="en-US" sz="1799" dirty="0">
              <a:solidFill>
                <a:prstClr val="black">
                  <a:tint val="75000"/>
                </a:prstClr>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pPr defTabSz="914089"/>
            <a:endParaRPr lang="en-US" sz="1799" dirty="0">
              <a:solidFill>
                <a:prstClr val="black">
                  <a:tint val="75000"/>
                </a:prstClr>
              </a:solidFill>
            </a:endParaRPr>
          </a:p>
        </p:txBody>
      </p:sp>
      <p:sp>
        <p:nvSpPr>
          <p:cNvPr id="6" name="Slide Number Placeholder 5"/>
          <p:cNvSpPr>
            <a:spLocks noGrp="1"/>
          </p:cNvSpPr>
          <p:nvPr>
            <p:ph type="sldNum" sz="quarter" idx="12"/>
          </p:nvPr>
        </p:nvSpPr>
        <p:spPr>
          <a:xfrm>
            <a:off x="8608358" y="6356353"/>
            <a:ext cx="2742486" cy="365125"/>
          </a:xfrm>
          <a:prstGeom prst="rect">
            <a:avLst/>
          </a:prstGeom>
        </p:spPr>
        <p:txBody>
          <a:bodyPr/>
          <a:lstStyle/>
          <a:p>
            <a:pPr defTabSz="914089"/>
            <a:fld id="{9A1BE74A-EFDA-440C-BC8D-662E71DCE101}" type="slidenum">
              <a:rPr lang="en-US" sz="1799" smtClean="0">
                <a:solidFill>
                  <a:prstClr val="black">
                    <a:tint val="75000"/>
                  </a:prstClr>
                </a:solidFill>
              </a:rPr>
              <a:pPr defTabSz="914089"/>
              <a:t>‹#›</a:t>
            </a:fld>
            <a:endParaRPr lang="en-US" sz="1799" dirty="0">
              <a:solidFill>
                <a:prstClr val="black">
                  <a:tint val="75000"/>
                </a:prstClr>
              </a:solidFill>
            </a:endParaRPr>
          </a:p>
        </p:txBody>
      </p:sp>
    </p:spTree>
    <p:extLst>
      <p:ext uri="{BB962C8B-B14F-4D97-AF65-F5344CB8AC3E}">
        <p14:creationId xmlns:p14="http://schemas.microsoft.com/office/powerpoint/2010/main" val="42746619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107022540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3002" b="3040"/>
          <a:stretch/>
        </p:blipFill>
        <p:spPr>
          <a:xfrm flipH="1">
            <a:off x="-2" y="0"/>
            <a:ext cx="12188825" cy="6858000"/>
          </a:xfrm>
          <a:prstGeom prst="rect">
            <a:avLst/>
          </a:prstGeom>
        </p:spPr>
      </p:pic>
      <p:sp>
        <p:nvSpPr>
          <p:cNvPr id="13" name="Rectangle 12"/>
          <p:cNvSpPr/>
          <p:nvPr/>
        </p:nvSpPr>
        <p:spPr bwMode="gray">
          <a:xfrm>
            <a:off x="150813" y="2057400"/>
            <a:ext cx="571499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50813" y="198358"/>
            <a:ext cx="1946596" cy="716042"/>
          </a:xfrm>
          <a:prstGeom prst="rect">
            <a:avLst/>
          </a:prstGeom>
        </p:spPr>
      </p:pic>
    </p:spTree>
    <p:extLst>
      <p:ext uri="{BB962C8B-B14F-4D97-AF65-F5344CB8AC3E}">
        <p14:creationId xmlns:p14="http://schemas.microsoft.com/office/powerpoint/2010/main" val="159689007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0003498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0337370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26568376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674166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9408393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8075612" y="0"/>
            <a:ext cx="4113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dirty="0">
              <a:solidFill>
                <a:prstClr val="white"/>
              </a:solidFill>
            </a:endParaRPr>
          </a:p>
        </p:txBody>
      </p:sp>
      <p:sp>
        <p:nvSpPr>
          <p:cNvPr id="5" name="Title 1"/>
          <p:cNvSpPr>
            <a:spLocks noGrp="1"/>
          </p:cNvSpPr>
          <p:nvPr>
            <p:ph type="title"/>
          </p:nvPr>
        </p:nvSpPr>
        <p:spPr>
          <a:xfrm>
            <a:off x="1" y="2"/>
            <a:ext cx="12188825" cy="646042"/>
          </a:xfrm>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30033867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991054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594628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15313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54444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2813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0275290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0916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49020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6805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784059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dirty="0">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dirty="0">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dirty="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Tree>
    <p:extLst>
      <p:ext uri="{BB962C8B-B14F-4D97-AF65-F5344CB8AC3E}">
        <p14:creationId xmlns:p14="http://schemas.microsoft.com/office/powerpoint/2010/main" val="216836525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ase study sldie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91"/>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2" y="631120"/>
            <a:ext cx="12188825" cy="373063"/>
          </a:xfrm>
          <a:prstGeom prst="rect">
            <a:avLst/>
          </a:prstGeom>
        </p:spPr>
        <p:txBody>
          <a:bodyPr lIns="320040" tIns="53325" rIns="53325" bIns="53325" anchor="t">
            <a:noAutofit/>
          </a:bodyPr>
          <a:lstStyle>
            <a:lvl1pPr marL="0" indent="0">
              <a:buNone/>
              <a:defRPr sz="2798">
                <a:solidFill>
                  <a:schemeClr val="tx1"/>
                </a:solidFill>
                <a:latin typeface="Segoe UI Light" pitchFamily="34" charset="0"/>
              </a:defRPr>
            </a:lvl1pPr>
            <a:lvl2pPr marL="281505" indent="0">
              <a:buNone/>
              <a:defRPr/>
            </a:lvl2pPr>
            <a:lvl3pPr marL="588123" indent="0">
              <a:buNone/>
              <a:defRPr/>
            </a:lvl3pPr>
            <a:lvl4pPr marL="869628" indent="0">
              <a:buNone/>
              <a:defRPr/>
            </a:lvl4pPr>
            <a:lvl5pPr marL="1104876" indent="0">
              <a:buNone/>
              <a:defRPr/>
            </a:lvl5pPr>
          </a:lstStyle>
          <a:p>
            <a:pPr lvl="0"/>
            <a:r>
              <a:rPr lang="en-US" dirty="0"/>
              <a:t>Click to add subtitle</a:t>
            </a:r>
          </a:p>
        </p:txBody>
      </p:sp>
    </p:spTree>
    <p:extLst>
      <p:ext uri="{BB962C8B-B14F-4D97-AF65-F5344CB8AC3E}">
        <p14:creationId xmlns:p14="http://schemas.microsoft.com/office/powerpoint/2010/main" val="5552042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7833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348668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7"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23102" y="5872356"/>
            <a:ext cx="1088572" cy="985644"/>
          </a:xfrm>
          <a:prstGeom prst="rect">
            <a:avLst/>
          </a:prstGeom>
        </p:spPr>
      </p:pic>
    </p:spTree>
    <p:extLst>
      <p:ext uri="{BB962C8B-B14F-4D97-AF65-F5344CB8AC3E}">
        <p14:creationId xmlns:p14="http://schemas.microsoft.com/office/powerpoint/2010/main" val="319074307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7085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2792721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lide 7">
    <p:spTree>
      <p:nvGrpSpPr>
        <p:cNvPr id="1" name=""/>
        <p:cNvGrpSpPr/>
        <p:nvPr/>
      </p:nvGrpSpPr>
      <p:grpSpPr>
        <a:xfrm>
          <a:off x="0" y="0"/>
          <a:ext cx="0" cy="0"/>
          <a:chOff x="0" y="0"/>
          <a:chExt cx="0" cy="0"/>
        </a:xfrm>
      </p:grpSpPr>
    </p:spTree>
    <p:extLst>
      <p:ext uri="{BB962C8B-B14F-4D97-AF65-F5344CB8AC3E}">
        <p14:creationId xmlns:p14="http://schemas.microsoft.com/office/powerpoint/2010/main" val="623737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7713" y="2984908"/>
            <a:ext cx="5145086" cy="1218795"/>
          </a:xfrm>
        </p:spPr>
        <p:txBody>
          <a:bodyPr anchor="b"/>
          <a:lstStyle>
            <a:lvl1pPr marL="0" indent="0" algn="r">
              <a:buNone/>
              <a:defRPr sz="4398" spc="-150">
                <a:solidFill>
                  <a:schemeClr val="bg1"/>
                </a:solidFill>
                <a:latin typeface="Segoe UI Light" pitchFamily="34" charset="0"/>
              </a:defRPr>
            </a:lvl1pPr>
            <a:lvl2pPr marL="304556" indent="0">
              <a:buNone/>
              <a:defRPr sz="3198">
                <a:solidFill>
                  <a:schemeClr val="bg1"/>
                </a:solidFill>
                <a:latin typeface="Segoe UI Light" pitchFamily="34" charset="0"/>
              </a:defRPr>
            </a:lvl2pPr>
            <a:lvl3pPr marL="599593" indent="0">
              <a:buNone/>
              <a:defRPr sz="2798">
                <a:solidFill>
                  <a:schemeClr val="bg1"/>
                </a:solidFill>
                <a:latin typeface="Segoe UI Light" pitchFamily="34" charset="0"/>
              </a:defRPr>
            </a:lvl3pPr>
            <a:lvl4pPr marL="853390" indent="0">
              <a:buNone/>
              <a:defRPr sz="2398">
                <a:solidFill>
                  <a:schemeClr val="bg1"/>
                </a:solidFill>
                <a:latin typeface="Segoe UI Light" pitchFamily="34" charset="0"/>
              </a:defRPr>
            </a:lvl4pPr>
            <a:lvl5pPr marL="1146840" indent="0">
              <a:buNone/>
              <a:defRPr sz="2398">
                <a:solidFill>
                  <a:schemeClr val="bg1"/>
                </a:solidFill>
                <a:latin typeface="Segoe UI Light" pitchFamily="34" charset="0"/>
              </a:defRPr>
            </a:lvl5pPr>
          </a:lstStyle>
          <a:p>
            <a:pPr lvl="0"/>
            <a:r>
              <a:rPr lang="en-US" dirty="0"/>
              <a:t>Click to edit Master text styles</a:t>
            </a:r>
          </a:p>
        </p:txBody>
      </p:sp>
      <p:sp>
        <p:nvSpPr>
          <p:cNvPr id="11" name="Text Placeholder 10"/>
          <p:cNvSpPr>
            <a:spLocks noGrp="1"/>
          </p:cNvSpPr>
          <p:nvPr>
            <p:ph type="body" sz="quarter" idx="11"/>
          </p:nvPr>
        </p:nvSpPr>
        <p:spPr>
          <a:xfrm>
            <a:off x="747713" y="4260533"/>
            <a:ext cx="5145086" cy="387798"/>
          </a:xfrm>
        </p:spPr>
        <p:txBody>
          <a:bodyPr anchor="ctr"/>
          <a:lstStyle>
            <a:lvl1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630" rtl="0" eaLnBrk="1" latinLnBrk="0" hangingPunct="1">
              <a:lnSpc>
                <a:spcPct val="90000"/>
              </a:lnSpc>
              <a:spcBef>
                <a:spcPct val="20000"/>
              </a:spcBef>
              <a:buClrTx/>
              <a:buSzPct val="90000"/>
              <a:buFont typeface="Arial" pitchFamily="34" charset="0"/>
              <a:buNone/>
              <a:defRPr lang="en-US" sz="2798" kern="1200" dirty="0">
                <a:ln w="3175">
                  <a:noFill/>
                </a:ln>
                <a:solidFill>
                  <a:schemeClr val="bg2"/>
                </a:solidFill>
                <a:latin typeface="Segoe UI" pitchFamily="34" charset="0"/>
                <a:ea typeface="Segoe UI" pitchFamily="34" charset="0"/>
                <a:cs typeface="Segoe UI" pitchFamily="34" charset="0"/>
              </a:defRPr>
            </a:lvl5pPr>
          </a:lstStyle>
          <a:p>
            <a:pPr lvl="0"/>
            <a:r>
              <a:rPr lang="en-US" dirty="0"/>
              <a:t>Click to edit Master text styles</a:t>
            </a:r>
          </a:p>
        </p:txBody>
      </p:sp>
      <p:sp>
        <p:nvSpPr>
          <p:cNvPr id="15" name="Text Placeholder 14"/>
          <p:cNvSpPr>
            <a:spLocks noGrp="1"/>
          </p:cNvSpPr>
          <p:nvPr>
            <p:ph type="body" sz="quarter" idx="12"/>
          </p:nvPr>
        </p:nvSpPr>
        <p:spPr>
          <a:xfrm>
            <a:off x="747715" y="5003801"/>
            <a:ext cx="10693400" cy="300062"/>
          </a:xfrm>
        </p:spPr>
        <p:txBody>
          <a:bodyPr lIns="91421" tIns="45710" rIns="91421" bIns="45710"/>
          <a:lstStyle>
            <a:lvl1pPr marL="0" indent="0" algn="l" defTabSz="913665" rtl="0" eaLnBrk="1" latinLnBrk="0" hangingPunct="1">
              <a:spcBef>
                <a:spcPct val="20000"/>
              </a:spcBef>
              <a:buClr>
                <a:srgbClr val="397FBB"/>
              </a:buClr>
              <a:buSzPct val="105000"/>
              <a:buFontTx/>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665" rtl="0" eaLnBrk="1" latinLnBrk="0" hangingPunct="1">
              <a:spcBef>
                <a:spcPct val="20000"/>
              </a:spcBef>
              <a:buClr>
                <a:srgbClr val="397FBB"/>
              </a:buClr>
              <a:buSzPct val="105000"/>
              <a:buFontTx/>
              <a:buNone/>
              <a:defRPr lang="en-US" sz="15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a:t>Click to edit Master text styles</a:t>
            </a:r>
          </a:p>
        </p:txBody>
      </p:sp>
      <p:sp>
        <p:nvSpPr>
          <p:cNvPr id="19" name="Text Placeholder 18"/>
          <p:cNvSpPr>
            <a:spLocks noGrp="1"/>
          </p:cNvSpPr>
          <p:nvPr>
            <p:ph type="body" sz="quarter" idx="15"/>
          </p:nvPr>
        </p:nvSpPr>
        <p:spPr>
          <a:xfrm>
            <a:off x="747715" y="5351706"/>
            <a:ext cx="10693400" cy="300062"/>
          </a:xfrm>
        </p:spPr>
        <p:txBody>
          <a:bodyPr lIns="91421" tIns="45710" rIns="91421" bIns="45710"/>
          <a:lstStyle>
            <a:lvl1pPr marL="290281" indent="-290281">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lvl="0"/>
            <a:r>
              <a:rPr lang="en-US" dirty="0"/>
              <a:t>Click to edit Master text styles</a:t>
            </a:r>
          </a:p>
        </p:txBody>
      </p:sp>
      <p:sp>
        <p:nvSpPr>
          <p:cNvPr id="24" name="Picture Placeholder 23"/>
          <p:cNvSpPr>
            <a:spLocks noGrp="1"/>
          </p:cNvSpPr>
          <p:nvPr>
            <p:ph type="pic" sz="quarter" idx="16"/>
          </p:nvPr>
        </p:nvSpPr>
        <p:spPr>
          <a:xfrm>
            <a:off x="6277296" y="2915302"/>
            <a:ext cx="2472855" cy="443198"/>
          </a:xfrm>
          <a:solidFill>
            <a:schemeClr val="bg1">
              <a:lumMod val="95000"/>
            </a:schemeClr>
          </a:solidFill>
          <a:ln>
            <a:noFill/>
          </a:ln>
        </p:spPr>
        <p:txBody>
          <a:bodyPr anchor="ctr"/>
          <a:lstStyle>
            <a:lvl1pPr marL="0" indent="0" algn="ctr">
              <a:buNone/>
              <a:defRPr/>
            </a:lvl1pPr>
          </a:lstStyle>
          <a:p>
            <a:pPr lvl="0"/>
            <a:endParaRPr lang="en-US" noProof="0" dirty="0"/>
          </a:p>
        </p:txBody>
      </p:sp>
      <p:sp>
        <p:nvSpPr>
          <p:cNvPr id="27" name="Picture Placeholder 26"/>
          <p:cNvSpPr>
            <a:spLocks noGrp="1"/>
          </p:cNvSpPr>
          <p:nvPr>
            <p:ph type="pic" sz="quarter" idx="17"/>
          </p:nvPr>
        </p:nvSpPr>
        <p:spPr>
          <a:xfrm>
            <a:off x="8932864" y="2915302"/>
            <a:ext cx="2508251" cy="443198"/>
          </a:xfrm>
          <a:solidFill>
            <a:schemeClr val="bg1">
              <a:lumMod val="95000"/>
            </a:schemeClr>
          </a:solidFill>
        </p:spPr>
        <p:txBody>
          <a:bodyPr anchor="ctr"/>
          <a:lstStyle>
            <a:lvl1pPr marL="0" indent="0" algn="ctr">
              <a:buNone/>
              <a:defRPr/>
            </a:lvl1pPr>
          </a:lstStyle>
          <a:p>
            <a:pPr lvl="0"/>
            <a:endParaRPr lang="en-US" noProof="0" dirty="0"/>
          </a:p>
        </p:txBody>
      </p:sp>
    </p:spTree>
    <p:extLst>
      <p:ext uri="{BB962C8B-B14F-4D97-AF65-F5344CB8AC3E}">
        <p14:creationId xmlns:p14="http://schemas.microsoft.com/office/powerpoint/2010/main" val="4077694843"/>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19336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lank Accent Color 3">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5410" y="6591238"/>
            <a:ext cx="689130" cy="253595"/>
          </a:xfrm>
          <a:prstGeom prst="rect">
            <a:avLst/>
          </a:prstGeom>
        </p:spPr>
      </p:pic>
    </p:spTree>
    <p:extLst>
      <p:ext uri="{BB962C8B-B14F-4D97-AF65-F5344CB8AC3E}">
        <p14:creationId xmlns:p14="http://schemas.microsoft.com/office/powerpoint/2010/main" val="1990632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801980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Gov PPT 1 Text w Icon">
    <p:spTree>
      <p:nvGrpSpPr>
        <p:cNvPr id="1" name=""/>
        <p:cNvGrpSpPr/>
        <p:nvPr/>
      </p:nvGrpSpPr>
      <p:grpSpPr>
        <a:xfrm>
          <a:off x="0" y="0"/>
          <a:ext cx="0" cy="0"/>
          <a:chOff x="0" y="0"/>
          <a:chExt cx="0" cy="0"/>
        </a:xfrm>
      </p:grpSpPr>
      <p:sp>
        <p:nvSpPr>
          <p:cNvPr id="9" name="Content Placeholder 2"/>
          <p:cNvSpPr>
            <a:spLocks noGrp="1"/>
          </p:cNvSpPr>
          <p:nvPr>
            <p:ph idx="10" hasCustomPrompt="1"/>
          </p:nvPr>
        </p:nvSpPr>
        <p:spPr>
          <a:xfrm>
            <a:off x="357270" y="210214"/>
            <a:ext cx="8741673" cy="738664"/>
          </a:xfrm>
          <a:prstGeom prst="rect">
            <a:avLst/>
          </a:prstGeom>
        </p:spPr>
        <p:txBody>
          <a:bodyPr lIns="91440" tIns="91440" rIns="91428" bIns="91440">
            <a:noAutofit/>
          </a:bodyPr>
          <a:lstStyle>
            <a:lvl1pPr marL="0" indent="0">
              <a:buNone/>
              <a:defRPr sz="3198">
                <a:solidFill>
                  <a:schemeClr val="tx1"/>
                </a:solidFill>
                <a:latin typeface="Segoe UI" pitchFamily="34" charset="0"/>
                <a:cs typeface="Segoe UI" pitchFamily="34" charset="0"/>
              </a:defRPr>
            </a:lvl1pPr>
          </a:lstStyle>
          <a:p>
            <a:pPr lvl="0"/>
            <a:r>
              <a:rPr lang="en-US" dirty="0"/>
              <a:t>Punchy section head goes here</a:t>
            </a:r>
          </a:p>
        </p:txBody>
      </p:sp>
    </p:spTree>
    <p:extLst>
      <p:ext uri="{BB962C8B-B14F-4D97-AF65-F5344CB8AC3E}">
        <p14:creationId xmlns:p14="http://schemas.microsoft.com/office/powerpoint/2010/main" val="421469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olor Block Header on Left &amp; Text on Right ">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51556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882" indent="0" algn="ctr">
              <a:buNone/>
              <a:defRPr sz="1998"/>
            </a:lvl2pPr>
            <a:lvl3pPr marL="913764" indent="0" algn="ctr">
              <a:buNone/>
              <a:defRPr sz="1798"/>
            </a:lvl3pPr>
            <a:lvl4pPr marL="1370646" indent="0" algn="ctr">
              <a:buNone/>
              <a:defRPr sz="1600"/>
            </a:lvl4pPr>
            <a:lvl5pPr marL="1827528" indent="0" algn="ctr">
              <a:buNone/>
              <a:defRPr sz="1600"/>
            </a:lvl5pPr>
            <a:lvl6pPr marL="2284408" indent="0" algn="ctr">
              <a:buNone/>
              <a:defRPr sz="1600"/>
            </a:lvl6pPr>
            <a:lvl7pPr marL="2741291" indent="0" algn="ctr">
              <a:buNone/>
              <a:defRPr sz="1600"/>
            </a:lvl7pPr>
            <a:lvl8pPr marL="3198173" indent="0" algn="ctr">
              <a:buNone/>
              <a:defRPr sz="1600"/>
            </a:lvl8pPr>
            <a:lvl9pPr marL="36550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pPr defTabSz="914089"/>
            <a:endParaRPr lang="en-US" sz="1799" dirty="0">
              <a:solidFill>
                <a:prstClr val="black">
                  <a:tint val="75000"/>
                </a:prstClr>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pPr defTabSz="914089"/>
            <a:endParaRPr lang="en-US" sz="1799" dirty="0">
              <a:solidFill>
                <a:prstClr val="black">
                  <a:tint val="75000"/>
                </a:prstClr>
              </a:solidFill>
            </a:endParaRPr>
          </a:p>
        </p:txBody>
      </p:sp>
      <p:sp>
        <p:nvSpPr>
          <p:cNvPr id="6" name="Slide Number Placeholder 5"/>
          <p:cNvSpPr>
            <a:spLocks noGrp="1"/>
          </p:cNvSpPr>
          <p:nvPr>
            <p:ph type="sldNum" sz="quarter" idx="12"/>
          </p:nvPr>
        </p:nvSpPr>
        <p:spPr>
          <a:xfrm>
            <a:off x="8608358" y="6356353"/>
            <a:ext cx="2742486" cy="365125"/>
          </a:xfrm>
          <a:prstGeom prst="rect">
            <a:avLst/>
          </a:prstGeom>
        </p:spPr>
        <p:txBody>
          <a:bodyPr/>
          <a:lstStyle/>
          <a:p>
            <a:pPr defTabSz="914089"/>
            <a:fld id="{9A1BE74A-EFDA-440C-BC8D-662E71DCE101}" type="slidenum">
              <a:rPr lang="en-US" sz="1799" smtClean="0">
                <a:solidFill>
                  <a:prstClr val="black">
                    <a:tint val="75000"/>
                  </a:prstClr>
                </a:solidFill>
              </a:rPr>
              <a:pPr defTabSz="914089"/>
              <a:t>‹#›</a:t>
            </a:fld>
            <a:endParaRPr lang="en-US" sz="1799" dirty="0">
              <a:solidFill>
                <a:prstClr val="black">
                  <a:tint val="75000"/>
                </a:prstClr>
              </a:solidFill>
            </a:endParaRPr>
          </a:p>
        </p:txBody>
      </p:sp>
    </p:spTree>
    <p:extLst>
      <p:ext uri="{BB962C8B-B14F-4D97-AF65-F5344CB8AC3E}">
        <p14:creationId xmlns:p14="http://schemas.microsoft.com/office/powerpoint/2010/main" val="29464790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122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Subhead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5"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338138" y="228481"/>
            <a:ext cx="11518900" cy="498598"/>
          </a:xfrm>
        </p:spPr>
        <p:txBody>
          <a:bodyPr vert="horz" wrap="square" lIns="0" tIns="0" rIns="0" bIns="0" rtlCol="0" anchor="t">
            <a:spAutoFit/>
          </a:bodyPr>
          <a:lstStyle>
            <a:lvl1pPr>
              <a:defRPr lang="en-US" sz="3599" dirty="0"/>
            </a:lvl1pPr>
          </a:lstStyle>
          <a:p>
            <a:pPr lvl="0"/>
            <a:r>
              <a:rPr lang="en-US" dirty="0"/>
              <a:t>Click to edit Master title style </a:t>
            </a:r>
          </a:p>
        </p:txBody>
      </p:sp>
      <p:sp>
        <p:nvSpPr>
          <p:cNvPr id="21" name="Text Placeholder 2"/>
          <p:cNvSpPr>
            <a:spLocks noGrp="1"/>
          </p:cNvSpPr>
          <p:nvPr>
            <p:ph type="body" idx="14"/>
            <p:custDataLst>
              <p:tags r:id="rId4"/>
            </p:custDataLst>
          </p:nvPr>
        </p:nvSpPr>
        <p:spPr>
          <a:xfrm>
            <a:off x="338328" y="749809"/>
            <a:ext cx="11518710" cy="276999"/>
          </a:xfrm>
        </p:spPr>
        <p:txBody>
          <a:bodyPr vert="horz" wrap="square" lIns="0" tIns="0" rIns="0" bIns="0" rtlCol="0" anchor="t">
            <a:spAutoFit/>
          </a:bodyPr>
          <a:lstStyle>
            <a:lvl1pPr>
              <a:defRPr lang="en-US" sz="1999" b="0" dirty="0" smtClean="0">
                <a:solidFill>
                  <a:schemeClr val="tx1"/>
                </a:solidFill>
                <a:latin typeface="Segoe UI Light" pitchFamily="34" charset="0"/>
                <a:ea typeface="Segoe UI" pitchFamily="34" charset="0"/>
                <a:cs typeface="Segoe UI" pitchFamily="34" charset="0"/>
              </a:defRPr>
            </a:lvl1pPr>
          </a:lstStyle>
          <a:p>
            <a:pPr marL="0" lvl="0" indent="0">
              <a:lnSpc>
                <a:spcPct val="90000"/>
              </a:lnSpc>
              <a:spcBef>
                <a:spcPts val="0"/>
              </a:spcBef>
              <a:buNone/>
              <a:tabLst>
                <a:tab pos="628461" algn="l"/>
              </a:tabLst>
            </a:pPr>
            <a:r>
              <a:rPr lang="en-US" dirty="0"/>
              <a:t>Click to edit Master text styles</a:t>
            </a:r>
          </a:p>
        </p:txBody>
      </p:sp>
      <p:pic>
        <p:nvPicPr>
          <p:cNvPr id="5" name="Picture 4"/>
          <p:cNvPicPr>
            <a:picLocks noChangeAspect="1"/>
          </p:cNvPicPr>
          <p:nvPr userDrawn="1">
            <p:custDataLst>
              <p:tags r:id="rId5"/>
            </p:custDataLst>
          </p:nvPr>
        </p:nvPicPr>
        <p:blipFill>
          <a:blip r:embed="rId11"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pic>
        <p:nvPicPr>
          <p:cNvPr id="15" name="Picture 14"/>
          <p:cNvPicPr>
            <a:picLocks noChangeAspect="1"/>
          </p:cNvPicPr>
          <p:nvPr userDrawn="1">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338138" y="6592058"/>
            <a:ext cx="2362530" cy="85737"/>
          </a:xfrm>
          <a:prstGeom prst="rect">
            <a:avLst/>
          </a:prstGeom>
          <a:noFill/>
          <a:ln>
            <a:noFill/>
          </a:ln>
        </p:spPr>
      </p:pic>
      <p:sp>
        <p:nvSpPr>
          <p:cNvPr id="19" name="Slide Number Placeholder 8"/>
          <p:cNvSpPr>
            <a:spLocks noGrp="1"/>
          </p:cNvSpPr>
          <p:nvPr>
            <p:ph type="sldNum" sz="quarter" idx="4"/>
            <p:custDataLst>
              <p:tags r:id="rId7"/>
            </p:custDataLst>
          </p:nvPr>
        </p:nvSpPr>
        <p:spPr>
          <a:xfrm>
            <a:off x="5601182" y="6519189"/>
            <a:ext cx="986588" cy="246221"/>
          </a:xfrm>
          <a:prstGeom prst="rect">
            <a:avLst/>
          </a:prstGeom>
          <a:noFill/>
        </p:spPr>
        <p:txBody>
          <a:bodyPr wrap="square" rtlCol="0">
            <a:spAutoFit/>
          </a:bodyPr>
          <a:lstStyle>
            <a:lvl1pPr>
              <a:defRPr lang="en-US" sz="1000" smtClean="0">
                <a:solidFill>
                  <a:srgbClr val="000000"/>
                </a:solidFill>
                <a:latin typeface="Segoe UI" pitchFamily="34" charset="0"/>
                <a:ea typeface="Segoe UI" pitchFamily="34" charset="0"/>
                <a:cs typeface="Segoe UI" pitchFamily="34" charset="0"/>
              </a:defRPr>
            </a:lvl1pPr>
          </a:lstStyle>
          <a:p>
            <a:pPr algn="ctr" defTabSz="914089"/>
            <a:fld id="{101F14F0-5018-4D43-9CE9-7EAB5322879C}" type="slidenum">
              <a:rPr lang="en-US" smtClean="0"/>
              <a:pPr algn="ctr" defTabSz="914089"/>
              <a:t>‹#›</a:t>
            </a:fld>
            <a:endParaRPr lang="en-US" dirty="0"/>
          </a:p>
        </p:txBody>
      </p:sp>
    </p:spTree>
    <p:extLst>
      <p:ext uri="{BB962C8B-B14F-4D97-AF65-F5344CB8AC3E}">
        <p14:creationId xmlns:p14="http://schemas.microsoft.com/office/powerpoint/2010/main" val="146879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
        <p:nvSpPr>
          <p:cNvPr id="4" name="Rectangle 3"/>
          <p:cNvSpPr/>
          <p:nvPr userDrawn="1"/>
        </p:nvSpPr>
        <p:spPr>
          <a:xfrm>
            <a:off x="8075612" y="0"/>
            <a:ext cx="4113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5" name="Title 1"/>
          <p:cNvSpPr>
            <a:spLocks noGrp="1"/>
          </p:cNvSpPr>
          <p:nvPr>
            <p:ph type="title"/>
          </p:nvPr>
        </p:nvSpPr>
        <p:spPr>
          <a:xfrm>
            <a:off x="0" y="2"/>
            <a:ext cx="12188825" cy="646042"/>
          </a:xfrm>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26963051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7"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23102" y="5872356"/>
            <a:ext cx="1088572" cy="985644"/>
          </a:xfrm>
          <a:prstGeom prst="rect">
            <a:avLst/>
          </a:prstGeom>
        </p:spPr>
      </p:pic>
    </p:spTree>
    <p:extLst>
      <p:ext uri="{BB962C8B-B14F-4D97-AF65-F5344CB8AC3E}">
        <p14:creationId xmlns:p14="http://schemas.microsoft.com/office/powerpoint/2010/main" val="271127709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35298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7">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38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7713" y="2984908"/>
            <a:ext cx="5145086" cy="1218795"/>
          </a:xfrm>
        </p:spPr>
        <p:txBody>
          <a:bodyPr anchor="b"/>
          <a:lstStyle>
            <a:lvl1pPr marL="0" indent="0" algn="r">
              <a:buNone/>
              <a:defRPr sz="4398" spc="-150">
                <a:solidFill>
                  <a:schemeClr val="bg1"/>
                </a:solidFill>
                <a:latin typeface="Segoe UI Light" pitchFamily="34" charset="0"/>
              </a:defRPr>
            </a:lvl1pPr>
            <a:lvl2pPr marL="304556" indent="0">
              <a:buNone/>
              <a:defRPr sz="3198">
                <a:solidFill>
                  <a:schemeClr val="bg1"/>
                </a:solidFill>
                <a:latin typeface="Segoe UI Light" pitchFamily="34" charset="0"/>
              </a:defRPr>
            </a:lvl2pPr>
            <a:lvl3pPr marL="599593" indent="0">
              <a:buNone/>
              <a:defRPr sz="2798">
                <a:solidFill>
                  <a:schemeClr val="bg1"/>
                </a:solidFill>
                <a:latin typeface="Segoe UI Light" pitchFamily="34" charset="0"/>
              </a:defRPr>
            </a:lvl3pPr>
            <a:lvl4pPr marL="853390" indent="0">
              <a:buNone/>
              <a:defRPr sz="2398">
                <a:solidFill>
                  <a:schemeClr val="bg1"/>
                </a:solidFill>
                <a:latin typeface="Segoe UI Light" pitchFamily="34" charset="0"/>
              </a:defRPr>
            </a:lvl4pPr>
            <a:lvl5pPr marL="1146840" indent="0">
              <a:buNone/>
              <a:defRPr sz="2398">
                <a:solidFill>
                  <a:schemeClr val="bg1"/>
                </a:solidFill>
                <a:latin typeface="Segoe UI Light" pitchFamily="34" charset="0"/>
              </a:defRPr>
            </a:lvl5pPr>
          </a:lstStyle>
          <a:p>
            <a:pPr lvl="0"/>
            <a:r>
              <a:rPr lang="en-US" dirty="0"/>
              <a:t>Click to edit Master text styles</a:t>
            </a:r>
          </a:p>
        </p:txBody>
      </p:sp>
      <p:sp>
        <p:nvSpPr>
          <p:cNvPr id="11" name="Text Placeholder 10"/>
          <p:cNvSpPr>
            <a:spLocks noGrp="1"/>
          </p:cNvSpPr>
          <p:nvPr>
            <p:ph type="body" sz="quarter" idx="11"/>
          </p:nvPr>
        </p:nvSpPr>
        <p:spPr>
          <a:xfrm>
            <a:off x="747713" y="4260533"/>
            <a:ext cx="5145086" cy="387798"/>
          </a:xfrm>
        </p:spPr>
        <p:txBody>
          <a:bodyPr anchor="ctr"/>
          <a:lstStyle>
            <a:lvl1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630" rtl="0" eaLnBrk="1" latinLnBrk="0" hangingPunct="1">
              <a:lnSpc>
                <a:spcPct val="90000"/>
              </a:lnSpc>
              <a:spcBef>
                <a:spcPct val="20000"/>
              </a:spcBef>
              <a:buClrTx/>
              <a:buSzPct val="90000"/>
              <a:buFont typeface="Arial" pitchFamily="34" charset="0"/>
              <a:buNone/>
              <a:defRPr lang="en-US" sz="2798"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630" rtl="0" eaLnBrk="1" latinLnBrk="0" hangingPunct="1">
              <a:lnSpc>
                <a:spcPct val="90000"/>
              </a:lnSpc>
              <a:spcBef>
                <a:spcPct val="20000"/>
              </a:spcBef>
              <a:buClrTx/>
              <a:buSzPct val="90000"/>
              <a:buFont typeface="Arial" pitchFamily="34" charset="0"/>
              <a:buNone/>
              <a:defRPr lang="en-US" sz="2798" kern="1200" dirty="0">
                <a:ln w="3175">
                  <a:noFill/>
                </a:ln>
                <a:solidFill>
                  <a:schemeClr val="bg2"/>
                </a:solidFill>
                <a:latin typeface="Segoe UI" pitchFamily="34" charset="0"/>
                <a:ea typeface="Segoe UI" pitchFamily="34" charset="0"/>
                <a:cs typeface="Segoe UI" pitchFamily="34" charset="0"/>
              </a:defRPr>
            </a:lvl5pPr>
          </a:lstStyle>
          <a:p>
            <a:pPr lvl="0"/>
            <a:r>
              <a:rPr lang="en-US" dirty="0"/>
              <a:t>Click to edit Master text styles</a:t>
            </a:r>
          </a:p>
        </p:txBody>
      </p:sp>
      <p:sp>
        <p:nvSpPr>
          <p:cNvPr id="15" name="Text Placeholder 14"/>
          <p:cNvSpPr>
            <a:spLocks noGrp="1"/>
          </p:cNvSpPr>
          <p:nvPr>
            <p:ph type="body" sz="quarter" idx="12"/>
          </p:nvPr>
        </p:nvSpPr>
        <p:spPr>
          <a:xfrm>
            <a:off x="747715" y="5003801"/>
            <a:ext cx="10693400" cy="300062"/>
          </a:xfrm>
        </p:spPr>
        <p:txBody>
          <a:bodyPr lIns="91421" tIns="45710" rIns="91421" bIns="45710"/>
          <a:lstStyle>
            <a:lvl1pPr marL="0" indent="0" algn="l" defTabSz="913665" rtl="0" eaLnBrk="1" latinLnBrk="0" hangingPunct="1">
              <a:spcBef>
                <a:spcPct val="20000"/>
              </a:spcBef>
              <a:buClr>
                <a:srgbClr val="397FBB"/>
              </a:buClr>
              <a:buSzPct val="105000"/>
              <a:buFontTx/>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66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665" rtl="0" eaLnBrk="1" latinLnBrk="0" hangingPunct="1">
              <a:spcBef>
                <a:spcPct val="20000"/>
              </a:spcBef>
              <a:buClr>
                <a:srgbClr val="397FBB"/>
              </a:buClr>
              <a:buSzPct val="105000"/>
              <a:buFontTx/>
              <a:buNone/>
              <a:defRPr lang="en-US" sz="15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a:t>Click to edit Master text styles</a:t>
            </a:r>
          </a:p>
        </p:txBody>
      </p:sp>
      <p:sp>
        <p:nvSpPr>
          <p:cNvPr id="19" name="Text Placeholder 18"/>
          <p:cNvSpPr>
            <a:spLocks noGrp="1"/>
          </p:cNvSpPr>
          <p:nvPr>
            <p:ph type="body" sz="quarter" idx="15"/>
          </p:nvPr>
        </p:nvSpPr>
        <p:spPr>
          <a:xfrm>
            <a:off x="747715" y="5351706"/>
            <a:ext cx="10693400" cy="300062"/>
          </a:xfrm>
        </p:spPr>
        <p:txBody>
          <a:bodyPr lIns="91421" tIns="45710" rIns="91421" bIns="45710"/>
          <a:lstStyle>
            <a:lvl1pPr marL="290281" indent="-290281">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lvl="0"/>
            <a:r>
              <a:rPr lang="en-US" dirty="0"/>
              <a:t>Click to edit Master text styles</a:t>
            </a:r>
          </a:p>
        </p:txBody>
      </p:sp>
      <p:sp>
        <p:nvSpPr>
          <p:cNvPr id="24" name="Picture Placeholder 23"/>
          <p:cNvSpPr>
            <a:spLocks noGrp="1"/>
          </p:cNvSpPr>
          <p:nvPr>
            <p:ph type="pic" sz="quarter" idx="16"/>
          </p:nvPr>
        </p:nvSpPr>
        <p:spPr>
          <a:xfrm>
            <a:off x="6277296" y="2915302"/>
            <a:ext cx="2472855" cy="443198"/>
          </a:xfrm>
          <a:solidFill>
            <a:schemeClr val="bg1">
              <a:lumMod val="95000"/>
            </a:schemeClr>
          </a:solidFill>
          <a:ln>
            <a:noFill/>
          </a:ln>
        </p:spPr>
        <p:txBody>
          <a:bodyPr anchor="ctr"/>
          <a:lstStyle>
            <a:lvl1pPr marL="0" indent="0" algn="ctr">
              <a:buNone/>
              <a:defRPr/>
            </a:lvl1pPr>
          </a:lstStyle>
          <a:p>
            <a:pPr lvl="0"/>
            <a:endParaRPr lang="en-US" noProof="0" dirty="0"/>
          </a:p>
        </p:txBody>
      </p:sp>
      <p:sp>
        <p:nvSpPr>
          <p:cNvPr id="27" name="Picture Placeholder 26"/>
          <p:cNvSpPr>
            <a:spLocks noGrp="1"/>
          </p:cNvSpPr>
          <p:nvPr>
            <p:ph type="pic" sz="quarter" idx="17"/>
          </p:nvPr>
        </p:nvSpPr>
        <p:spPr>
          <a:xfrm>
            <a:off x="8932864" y="2915302"/>
            <a:ext cx="2508251" cy="443198"/>
          </a:xfrm>
          <a:solidFill>
            <a:schemeClr val="bg1">
              <a:lumMod val="95000"/>
            </a:schemeClr>
          </a:solidFill>
        </p:spPr>
        <p:txBody>
          <a:bodyPr anchor="ctr"/>
          <a:lstStyle>
            <a:lvl1pPr marL="0" indent="0" algn="ctr">
              <a:buNone/>
              <a:defRPr/>
            </a:lvl1pPr>
          </a:lstStyle>
          <a:p>
            <a:pPr lvl="0"/>
            <a:endParaRPr lang="en-US" noProof="0" dirty="0"/>
          </a:p>
        </p:txBody>
      </p:sp>
    </p:spTree>
    <p:extLst>
      <p:ext uri="{BB962C8B-B14F-4D97-AF65-F5344CB8AC3E}">
        <p14:creationId xmlns:p14="http://schemas.microsoft.com/office/powerpoint/2010/main" val="907598229"/>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0635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Blank Accent Color 3">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5410" y="6591238"/>
            <a:ext cx="689130" cy="253595"/>
          </a:xfrm>
          <a:prstGeom prst="rect">
            <a:avLst/>
          </a:prstGeom>
        </p:spPr>
      </p:pic>
    </p:spTree>
    <p:extLst>
      <p:ext uri="{BB962C8B-B14F-4D97-AF65-F5344CB8AC3E}">
        <p14:creationId xmlns:p14="http://schemas.microsoft.com/office/powerpoint/2010/main" val="34469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2507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Gov PPT 1 Text w Icon">
    <p:spTree>
      <p:nvGrpSpPr>
        <p:cNvPr id="1" name=""/>
        <p:cNvGrpSpPr/>
        <p:nvPr/>
      </p:nvGrpSpPr>
      <p:grpSpPr>
        <a:xfrm>
          <a:off x="0" y="0"/>
          <a:ext cx="0" cy="0"/>
          <a:chOff x="0" y="0"/>
          <a:chExt cx="0" cy="0"/>
        </a:xfrm>
      </p:grpSpPr>
      <p:sp>
        <p:nvSpPr>
          <p:cNvPr id="9" name="Content Placeholder 2"/>
          <p:cNvSpPr>
            <a:spLocks noGrp="1"/>
          </p:cNvSpPr>
          <p:nvPr>
            <p:ph idx="10" hasCustomPrompt="1"/>
          </p:nvPr>
        </p:nvSpPr>
        <p:spPr>
          <a:xfrm>
            <a:off x="357270" y="210214"/>
            <a:ext cx="8741673" cy="738664"/>
          </a:xfrm>
          <a:prstGeom prst="rect">
            <a:avLst/>
          </a:prstGeom>
        </p:spPr>
        <p:txBody>
          <a:bodyPr lIns="91440" tIns="91440" rIns="91428" bIns="91440">
            <a:noAutofit/>
          </a:bodyPr>
          <a:lstStyle>
            <a:lvl1pPr marL="0" indent="0">
              <a:buNone/>
              <a:defRPr sz="3198">
                <a:solidFill>
                  <a:schemeClr val="tx1"/>
                </a:solidFill>
                <a:latin typeface="Segoe UI" pitchFamily="34" charset="0"/>
                <a:cs typeface="Segoe UI" pitchFamily="34" charset="0"/>
              </a:defRPr>
            </a:lvl1pPr>
          </a:lstStyle>
          <a:p>
            <a:pPr lvl="0"/>
            <a:r>
              <a:rPr lang="en-US" dirty="0"/>
              <a:t>Punchy section head goes here</a:t>
            </a:r>
          </a:p>
        </p:txBody>
      </p:sp>
    </p:spTree>
    <p:extLst>
      <p:ext uri="{BB962C8B-B14F-4D97-AF65-F5344CB8AC3E}">
        <p14:creationId xmlns:p14="http://schemas.microsoft.com/office/powerpoint/2010/main" val="293423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Color Block Header on Left &amp; Text on Right ">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0200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882" indent="0" algn="ctr">
              <a:buNone/>
              <a:defRPr sz="1998"/>
            </a:lvl2pPr>
            <a:lvl3pPr marL="913764" indent="0" algn="ctr">
              <a:buNone/>
              <a:defRPr sz="1798"/>
            </a:lvl3pPr>
            <a:lvl4pPr marL="1370646" indent="0" algn="ctr">
              <a:buNone/>
              <a:defRPr sz="1600"/>
            </a:lvl4pPr>
            <a:lvl5pPr marL="1827528" indent="0" algn="ctr">
              <a:buNone/>
              <a:defRPr sz="1600"/>
            </a:lvl5pPr>
            <a:lvl6pPr marL="2284408" indent="0" algn="ctr">
              <a:buNone/>
              <a:defRPr sz="1600"/>
            </a:lvl6pPr>
            <a:lvl7pPr marL="2741291" indent="0" algn="ctr">
              <a:buNone/>
              <a:defRPr sz="1600"/>
            </a:lvl7pPr>
            <a:lvl8pPr marL="3198173" indent="0" algn="ctr">
              <a:buNone/>
              <a:defRPr sz="1600"/>
            </a:lvl8pPr>
            <a:lvl9pPr marL="36550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pPr defTabSz="914089"/>
            <a:endParaRPr lang="en-US" sz="1799" dirty="0">
              <a:solidFill>
                <a:prstClr val="black">
                  <a:tint val="75000"/>
                </a:prstClr>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pPr defTabSz="914089"/>
            <a:endParaRPr lang="en-US" sz="1799" dirty="0">
              <a:solidFill>
                <a:prstClr val="black">
                  <a:tint val="75000"/>
                </a:prstClr>
              </a:solidFill>
            </a:endParaRPr>
          </a:p>
        </p:txBody>
      </p:sp>
      <p:sp>
        <p:nvSpPr>
          <p:cNvPr id="6" name="Slide Number Placeholder 5"/>
          <p:cNvSpPr>
            <a:spLocks noGrp="1"/>
          </p:cNvSpPr>
          <p:nvPr>
            <p:ph type="sldNum" sz="quarter" idx="12"/>
          </p:nvPr>
        </p:nvSpPr>
        <p:spPr>
          <a:xfrm>
            <a:off x="8608358" y="6356353"/>
            <a:ext cx="2742486" cy="365125"/>
          </a:xfrm>
          <a:prstGeom prst="rect">
            <a:avLst/>
          </a:prstGeom>
        </p:spPr>
        <p:txBody>
          <a:bodyPr/>
          <a:lstStyle/>
          <a:p>
            <a:pPr defTabSz="914089"/>
            <a:fld id="{9A1BE74A-EFDA-440C-BC8D-662E71DCE101}" type="slidenum">
              <a:rPr lang="en-US" sz="1799" smtClean="0">
                <a:solidFill>
                  <a:prstClr val="black">
                    <a:tint val="75000"/>
                  </a:prstClr>
                </a:solidFill>
              </a:rPr>
              <a:pPr defTabSz="914089"/>
              <a:t>‹#›</a:t>
            </a:fld>
            <a:endParaRPr lang="en-US" sz="1799" dirty="0">
              <a:solidFill>
                <a:prstClr val="black">
                  <a:tint val="75000"/>
                </a:prstClr>
              </a:solidFill>
            </a:endParaRPr>
          </a:p>
        </p:txBody>
      </p:sp>
    </p:spTree>
    <p:extLst>
      <p:ext uri="{BB962C8B-B14F-4D97-AF65-F5344CB8AC3E}">
        <p14:creationId xmlns:p14="http://schemas.microsoft.com/office/powerpoint/2010/main" val="4117682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3" y="1143000"/>
            <a:ext cx="1005839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1" y="3877276"/>
            <a:ext cx="1005840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70074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7255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ntro Section">
    <p:spTree>
      <p:nvGrpSpPr>
        <p:cNvPr id="1" name=""/>
        <p:cNvGrpSpPr/>
        <p:nvPr/>
      </p:nvGrpSpPr>
      <p:grpSpPr>
        <a:xfrm>
          <a:off x="0" y="0"/>
          <a:ext cx="0" cy="0"/>
          <a:chOff x="0" y="0"/>
          <a:chExt cx="0" cy="0"/>
        </a:xfrm>
      </p:grpSpPr>
      <p:sp>
        <p:nvSpPr>
          <p:cNvPr id="3" name="Rectangle 2"/>
          <p:cNvSpPr/>
          <p:nvPr/>
        </p:nvSpPr>
        <p:spPr>
          <a:xfrm>
            <a:off x="-16828" y="-21893"/>
            <a:ext cx="1220724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28"/>
            <a:endParaRPr lang="en-US" dirty="0">
              <a:solidFill>
                <a:srgbClr val="E4DED8"/>
              </a:solidFill>
            </a:endParaRPr>
          </a:p>
        </p:txBody>
      </p:sp>
      <p:sp>
        <p:nvSpPr>
          <p:cNvPr id="4" name="Text Placeholder 4"/>
          <p:cNvSpPr txBox="1">
            <a:spLocks/>
          </p:cNvSpPr>
          <p:nvPr/>
        </p:nvSpPr>
        <p:spPr>
          <a:xfrm>
            <a:off x="0" y="769937"/>
            <a:ext cx="1218882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endParaRPr lang="en-US" sz="2400" dirty="0">
              <a:solidFill>
                <a:schemeClr val="accent1"/>
              </a:solidFill>
              <a:latin typeface="+mn-lt"/>
            </a:endParaRPr>
          </a:p>
        </p:txBody>
      </p:sp>
      <p:sp>
        <p:nvSpPr>
          <p:cNvPr id="5" name="Rectangle 4"/>
          <p:cNvSpPr/>
          <p:nvPr/>
        </p:nvSpPr>
        <p:spPr bwMode="auto">
          <a:xfrm>
            <a:off x="227012" y="1600200"/>
            <a:ext cx="4803136" cy="1889653"/>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endParaRPr lang="en-US" sz="2000" dirty="0">
              <a:solidFill>
                <a:schemeClr val="accent1"/>
              </a:solidFill>
              <a:ea typeface="Segoe UI" panose="020B0502040204020203" pitchFamily="34" charset="0"/>
              <a:cs typeface="Segoe UI" panose="020B0502040204020203" pitchFamily="34" charset="0"/>
            </a:endParaRPr>
          </a:p>
        </p:txBody>
      </p:sp>
      <p:sp>
        <p:nvSpPr>
          <p:cNvPr id="6" name="Title 1"/>
          <p:cNvSpPr txBox="1">
            <a:spLocks/>
          </p:cNvSpPr>
          <p:nvPr/>
        </p:nvSpPr>
        <p:spPr>
          <a:xfrm>
            <a:off x="280554" y="-5201"/>
            <a:ext cx="8023658"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gn="l">
              <a:lnSpc>
                <a:spcPts val="3500"/>
              </a:lnSpc>
            </a:pPr>
            <a:endParaRPr lang="en-US" sz="2400" i="0" kern="900" dirty="0">
              <a:gradFill>
                <a:gsLst>
                  <a:gs pos="100000">
                    <a:schemeClr val="accent1"/>
                  </a:gs>
                  <a:gs pos="0">
                    <a:schemeClr val="accent1"/>
                  </a:gs>
                </a:gsLst>
                <a:lin ang="5400000" scaled="0"/>
              </a:gradFill>
            </a:endParaRPr>
          </a:p>
        </p:txBody>
      </p:sp>
    </p:spTree>
    <p:extLst>
      <p:ext uri="{BB962C8B-B14F-4D97-AF65-F5344CB8AC3E}">
        <p14:creationId xmlns:p14="http://schemas.microsoft.com/office/powerpoint/2010/main" val="101114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Content Left Side">
    <p:spTree>
      <p:nvGrpSpPr>
        <p:cNvPr id="1" name=""/>
        <p:cNvGrpSpPr/>
        <p:nvPr/>
      </p:nvGrpSpPr>
      <p:grpSpPr>
        <a:xfrm>
          <a:off x="0" y="0"/>
          <a:ext cx="0" cy="0"/>
          <a:chOff x="0" y="0"/>
          <a:chExt cx="0" cy="0"/>
        </a:xfrm>
      </p:grpSpPr>
      <p:sp>
        <p:nvSpPr>
          <p:cNvPr id="4" name="Text Placeholder 5"/>
          <p:cNvSpPr txBox="1">
            <a:spLocks/>
          </p:cNvSpPr>
          <p:nvPr/>
        </p:nvSpPr>
        <p:spPr>
          <a:xfrm>
            <a:off x="280633" y="2322602"/>
            <a:ext cx="3495921" cy="1326357"/>
          </a:xfrm>
          <a:prstGeom prst="rect">
            <a:avLst/>
          </a:prstGeom>
        </p:spPr>
        <p:txBody>
          <a:bodyPr vert="horz" lIns="0" tIns="91416" rIns="182832" bIns="45708" rtlCol="0">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spcBef>
                <a:spcPts val="1200"/>
              </a:spcBef>
            </a:pPr>
            <a:endParaRPr lang="en-US" sz="1999" dirty="0">
              <a:solidFill>
                <a:prstClr val="white"/>
              </a:solidFill>
              <a:latin typeface="Segoe UI Semibold" panose="020B0702040204020203" pitchFamily="34" charset="0"/>
              <a:cs typeface="Segoe UI Semibold" panose="020B0702040204020203" pitchFamily="34" charset="0"/>
            </a:endParaRPr>
          </a:p>
        </p:txBody>
      </p:sp>
      <p:sp>
        <p:nvSpPr>
          <p:cNvPr id="5" name="Text Placeholder 5"/>
          <p:cNvSpPr txBox="1">
            <a:spLocks/>
          </p:cNvSpPr>
          <p:nvPr/>
        </p:nvSpPr>
        <p:spPr>
          <a:xfrm>
            <a:off x="288610" y="4155396"/>
            <a:ext cx="3615958" cy="2674433"/>
          </a:xfrm>
          <a:prstGeom prst="rect">
            <a:avLst/>
          </a:prstGeom>
        </p:spPr>
        <p:txBody>
          <a:bodyPr vert="horz" lIns="0" tIns="91416" rIns="0" bIns="45708" rtlCol="0">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spcBef>
                <a:spcPts val="1200"/>
              </a:spcBef>
              <a:buClr>
                <a:schemeClr val="bg1"/>
              </a:buClr>
            </a:pPr>
            <a:endParaRPr lang="en-US" sz="1200" dirty="0">
              <a:solidFill>
                <a:schemeClr val="accent1"/>
              </a:solidFill>
            </a:endParaRPr>
          </a:p>
        </p:txBody>
      </p:sp>
      <p:sp>
        <p:nvSpPr>
          <p:cNvPr id="3" name="Title 3"/>
          <p:cNvSpPr txBox="1">
            <a:spLocks/>
          </p:cNvSpPr>
          <p:nvPr/>
        </p:nvSpPr>
        <p:spPr>
          <a:xfrm>
            <a:off x="304721" y="807130"/>
            <a:ext cx="3865858" cy="645945"/>
          </a:xfrm>
          <a:prstGeom prst="rect">
            <a:avLst/>
          </a:prstGeom>
        </p:spPr>
        <p:txBody>
          <a:bodyPr vert="horz" lIns="0" tIns="152317" rIns="53311" bIns="53311" rtlCol="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a:lnSpc>
                <a:spcPct val="80000"/>
              </a:lnSpc>
            </a:pPr>
            <a:endParaRPr lang="en-US" kern="0" spc="98" dirty="0">
              <a:solidFill>
                <a:schemeClr val="accent1"/>
              </a:solidFill>
            </a:endParaRPr>
          </a:p>
        </p:txBody>
      </p:sp>
    </p:spTree>
    <p:extLst>
      <p:ext uri="{BB962C8B-B14F-4D97-AF65-F5344CB8AC3E}">
        <p14:creationId xmlns:p14="http://schemas.microsoft.com/office/powerpoint/2010/main" val="20499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Blank - Tan Background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88280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Case Study Slides">
    <p:spTree>
      <p:nvGrpSpPr>
        <p:cNvPr id="1" name=""/>
        <p:cNvGrpSpPr/>
        <p:nvPr/>
      </p:nvGrpSpPr>
      <p:grpSpPr>
        <a:xfrm>
          <a:off x="0" y="0"/>
          <a:ext cx="0" cy="0"/>
          <a:chOff x="0" y="0"/>
          <a:chExt cx="0" cy="0"/>
        </a:xfrm>
      </p:grpSpPr>
      <p:sp>
        <p:nvSpPr>
          <p:cNvPr id="2" name="Title 1"/>
          <p:cNvSpPr>
            <a:spLocks noGrp="1"/>
          </p:cNvSpPr>
          <p:nvPr>
            <p:ph type="title"/>
          </p:nvPr>
        </p:nvSpPr>
        <p:spPr>
          <a:xfrm>
            <a:off x="534669" y="0"/>
            <a:ext cx="10969943" cy="640080"/>
          </a:xfrm>
        </p:spPr>
        <p:txBody>
          <a:bodyPr>
            <a:noAutofit/>
          </a:bodyPr>
          <a:lstStyle>
            <a:lvl1pPr algn="l">
              <a:defRPr sz="4000" b="0" i="0">
                <a:solidFill>
                  <a:schemeClr val="tx2"/>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6" name="Text Placeholder 5"/>
          <p:cNvSpPr>
            <a:spLocks noGrp="1"/>
          </p:cNvSpPr>
          <p:nvPr>
            <p:ph type="body" sz="quarter" idx="13" hasCustomPrompt="1"/>
          </p:nvPr>
        </p:nvSpPr>
        <p:spPr>
          <a:xfrm>
            <a:off x="534987" y="693737"/>
            <a:ext cx="11426825" cy="525463"/>
          </a:xfrm>
          <a:prstGeom prst="rect">
            <a:avLst/>
          </a:prstGeom>
        </p:spPr>
        <p:txBody>
          <a:bodyPr lIns="91440" tIns="53325" rIns="53325" bIns="53325">
            <a:noAutofit/>
          </a:bodyPr>
          <a:lstStyle>
            <a:lvl1pPr marL="0" indent="0">
              <a:buNone/>
              <a:defRPr sz="2800">
                <a:solidFill>
                  <a:schemeClr val="tx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4" name="Rectangle 3"/>
          <p:cNvSpPr/>
          <p:nvPr userDrawn="1"/>
        </p:nvSpPr>
        <p:spPr>
          <a:xfrm>
            <a:off x="-1" y="2736"/>
            <a:ext cx="495300" cy="68800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a:xfrm rot="16200000">
            <a:off x="-1019939" y="3228945"/>
            <a:ext cx="2439988" cy="400110"/>
          </a:xfrm>
          <a:prstGeom prst="rect">
            <a:avLst/>
          </a:prstGeom>
          <a:noFill/>
        </p:spPr>
        <p:txBody>
          <a:bodyPr wrap="square">
            <a:spAutoFit/>
          </a:bodyPr>
          <a:lstStyle/>
          <a:p>
            <a:pPr algn="ctr" defTabSz="914225"/>
            <a:r>
              <a:rPr lang="en-US" sz="2000" dirty="0">
                <a:solidFill>
                  <a:schemeClr val="accent1"/>
                </a:solidFill>
                <a:latin typeface="Segoe UI Light"/>
                <a:cs typeface="Segoe UI" panose="020B0502040204020203" pitchFamily="34" charset="0"/>
              </a:rPr>
              <a:t>Customer Evidence</a:t>
            </a:r>
          </a:p>
        </p:txBody>
      </p:sp>
    </p:spTree>
    <p:extLst>
      <p:ext uri="{BB962C8B-B14F-4D97-AF65-F5344CB8AC3E}">
        <p14:creationId xmlns:p14="http://schemas.microsoft.com/office/powerpoint/2010/main" val="10074877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8500678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427025" y="6477874"/>
            <a:ext cx="761800" cy="380126"/>
          </a:xfrm>
          <a:prstGeom prst="rect">
            <a:avLst/>
          </a:prstGeom>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a:xfrm>
            <a:off x="3047206" y="6477873"/>
            <a:ext cx="8379817" cy="380127"/>
          </a:xfrm>
          <a:prstGeom prst="rect">
            <a:avLst/>
          </a:prstGeom>
        </p:spPr>
        <p:txBody>
          <a:bodyPr/>
          <a:lstStyle/>
          <a:p>
            <a:endParaRPr lang="en-US" dirty="0"/>
          </a:p>
        </p:txBody>
      </p:sp>
    </p:spTree>
    <p:extLst>
      <p:ext uri="{BB962C8B-B14F-4D97-AF65-F5344CB8AC3E}">
        <p14:creationId xmlns:p14="http://schemas.microsoft.com/office/powerpoint/2010/main" val="36431117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48962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a:xfrm>
            <a:off x="3047206" y="6477873"/>
            <a:ext cx="8379817" cy="380127"/>
          </a:xfrm>
          <a:prstGeom prst="rect">
            <a:avLst/>
          </a:prstGeom>
        </p:spPr>
        <p:txBody>
          <a:bodyPr/>
          <a:lstStyle/>
          <a:p>
            <a:endParaRPr lang="en-US" dirty="0"/>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8967374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72921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3" y="1142999"/>
            <a:ext cx="1005839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108153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98100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ase study sldie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a:xfrm>
            <a:off x="3047206" y="6477873"/>
            <a:ext cx="8379817"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31118"/>
            <a:ext cx="12188825" cy="373063"/>
          </a:xfrm>
          <a:prstGeom prst="rect">
            <a:avLst/>
          </a:prstGeom>
        </p:spPr>
        <p:txBody>
          <a:bodyPr lIns="320040" tIns="53325" rIns="53325" bIns="53325" anchor="t">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16747875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15" name="Rectangle 14"/>
          <p:cNvSpPr/>
          <p:nvPr userDrawn="1"/>
        </p:nvSpPr>
        <p:spPr bwMode="gray">
          <a:xfrm>
            <a:off x="455881" y="456002"/>
            <a:ext cx="11277063" cy="52939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6" name="Group 15"/>
          <p:cNvGrpSpPr/>
          <p:nvPr userDrawn="1"/>
        </p:nvGrpSpPr>
        <p:grpSpPr bwMode="gray">
          <a:xfrm>
            <a:off x="457083" y="6078953"/>
            <a:ext cx="1479485" cy="321563"/>
            <a:chOff x="2749538" y="2279310"/>
            <a:chExt cx="1479870" cy="321562"/>
          </a:xfrm>
        </p:grpSpPr>
        <p:sp>
          <p:nvSpPr>
            <p:cNvPr id="17" name="Rectangle 16"/>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18" name="Rectangle 17"/>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19" name="Group 21"/>
            <p:cNvGrpSpPr/>
            <p:nvPr/>
          </p:nvGrpSpPr>
          <p:grpSpPr bwMode="gray">
            <a:xfrm>
              <a:off x="3373209" y="2357164"/>
              <a:ext cx="726277" cy="153325"/>
              <a:chOff x="-1490663" y="3248025"/>
              <a:chExt cx="2857501" cy="603250"/>
            </a:xfrm>
          </p:grpSpPr>
          <p:sp>
            <p:nvSpPr>
              <p:cNvPr id="21" name="Freeform 20"/>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22" name="Freeform 21"/>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23" name="Freeform 22"/>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24" name="Freeform 23"/>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25" name="Freeform 24"/>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26" name="Freeform 25"/>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
          <p:nvSpPr>
            <p:cNvPr id="20" name="Freeform 13"/>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
        <p:nvSpPr>
          <p:cNvPr id="2" name="Title 1"/>
          <p:cNvSpPr>
            <a:spLocks noGrp="1"/>
          </p:cNvSpPr>
          <p:nvPr>
            <p:ph type="title"/>
          </p:nvPr>
        </p:nvSpPr>
        <p:spPr>
          <a:xfrm>
            <a:off x="881586" y="701206"/>
            <a:ext cx="10451046" cy="5048709"/>
          </a:xfrm>
          <a:noFill/>
        </p:spPr>
        <p:txBody>
          <a:bodyPr lIns="0" rIns="0" anchor="t" anchorCtr="0"/>
          <a:lstStyle>
            <a:lvl1pPr>
              <a:lnSpc>
                <a:spcPts val="11997"/>
              </a:lnSpc>
              <a:defRPr sz="10664"/>
            </a:lvl1pPr>
          </a:lstStyle>
          <a:p>
            <a:r>
              <a:rPr lang="en-US" noProof="0" dirty="0"/>
              <a:t>Click to edit Master title style</a:t>
            </a:r>
            <a:endParaRPr lang="nl-NL" noProof="0" dirty="0"/>
          </a:p>
        </p:txBody>
      </p:sp>
    </p:spTree>
    <p:extLst>
      <p:ext uri="{BB962C8B-B14F-4D97-AF65-F5344CB8AC3E}">
        <p14:creationId xmlns:p14="http://schemas.microsoft.com/office/powerpoint/2010/main" val="426755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8" name="Rectangle 7"/>
          <p:cNvSpPr/>
          <p:nvPr userDrawn="1"/>
        </p:nvSpPr>
        <p:spPr bwMode="gray">
          <a:xfrm>
            <a:off x="455881" y="456002"/>
            <a:ext cx="11277063" cy="52939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 name="Title 1"/>
          <p:cNvSpPr>
            <a:spLocks noGrp="1"/>
          </p:cNvSpPr>
          <p:nvPr>
            <p:ph type="ctrTitle" hasCustomPrompt="1"/>
          </p:nvPr>
        </p:nvSpPr>
        <p:spPr>
          <a:xfrm>
            <a:off x="906980" y="708979"/>
            <a:ext cx="10451046" cy="2564805"/>
          </a:xfrm>
          <a:noFill/>
        </p:spPr>
        <p:txBody>
          <a:bodyPr lIns="0" rIns="0" anchor="t" anchorCtr="0">
            <a:noAutofit/>
          </a:bodyPr>
          <a:lstStyle>
            <a:lvl1pPr>
              <a:lnSpc>
                <a:spcPts val="6665"/>
              </a:lnSpc>
              <a:defRPr sz="5999"/>
            </a:lvl1pPr>
          </a:lstStyle>
          <a:p>
            <a:r>
              <a:rPr lang="en-US" noProof="0" dirty="0"/>
              <a:t>Click to edit </a:t>
            </a:r>
            <a:br>
              <a:rPr lang="en-US" noProof="0" dirty="0"/>
            </a:br>
            <a:r>
              <a:rPr lang="en-US" noProof="0" dirty="0"/>
              <a:t>Master title style</a:t>
            </a:r>
            <a:endParaRPr lang="nl-NL" noProof="0" dirty="0"/>
          </a:p>
        </p:txBody>
      </p:sp>
      <p:sp>
        <p:nvSpPr>
          <p:cNvPr id="3" name="Subtitle 2"/>
          <p:cNvSpPr>
            <a:spLocks noGrp="1"/>
          </p:cNvSpPr>
          <p:nvPr>
            <p:ph type="subTitle" idx="1" hasCustomPrompt="1"/>
          </p:nvPr>
        </p:nvSpPr>
        <p:spPr bwMode="white">
          <a:xfrm>
            <a:off x="906952" y="3831139"/>
            <a:ext cx="10452308" cy="718145"/>
          </a:xfrm>
        </p:spPr>
        <p:txBody>
          <a:bodyPr/>
          <a:lstStyle>
            <a:lvl1pPr marL="0" indent="0" algn="l">
              <a:lnSpc>
                <a:spcPts val="2666"/>
              </a:lnSpc>
              <a:buNone/>
              <a:defRPr sz="2399">
                <a:solidFill>
                  <a:schemeClr val="bg1"/>
                </a:solidFill>
              </a:defRPr>
            </a:lvl1pPr>
            <a:lvl2pPr marL="457086" indent="0" algn="ctr">
              <a:buNone/>
              <a:defRPr>
                <a:solidFill>
                  <a:schemeClr val="tx1">
                    <a:tint val="75000"/>
                  </a:schemeClr>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9"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US" noProof="0" dirty="0"/>
              <a:t>Click to edit Master </a:t>
            </a:r>
            <a:br>
              <a:rPr lang="en-US" noProof="0" dirty="0"/>
            </a:br>
            <a:r>
              <a:rPr lang="en-US" noProof="0" dirty="0"/>
              <a:t>subtitle style</a:t>
            </a:r>
            <a:endParaRPr lang="nl-NL" noProof="0" dirty="0"/>
          </a:p>
        </p:txBody>
      </p:sp>
      <p:sp>
        <p:nvSpPr>
          <p:cNvPr id="13" name="Content Placeholder 12"/>
          <p:cNvSpPr>
            <a:spLocks noGrp="1"/>
          </p:cNvSpPr>
          <p:nvPr>
            <p:ph sz="quarter" idx="13" hasCustomPrompt="1"/>
          </p:nvPr>
        </p:nvSpPr>
        <p:spPr bwMode="white">
          <a:xfrm>
            <a:off x="906981" y="4843863"/>
            <a:ext cx="10451044" cy="239381"/>
          </a:xfrm>
        </p:spPr>
        <p:txBody>
          <a:bodyPr>
            <a:noAutofit/>
          </a:bodyPr>
          <a:lstStyle>
            <a:lvl1pPr marL="0" indent="0">
              <a:lnSpc>
                <a:spcPts val="1866"/>
              </a:lnSpc>
              <a:buNone/>
              <a:defRPr sz="1600" baseline="0">
                <a:solidFill>
                  <a:schemeClr val="bg1"/>
                </a:solidFill>
              </a:defRPr>
            </a:lvl1pPr>
          </a:lstStyle>
          <a:p>
            <a:pPr lvl="0"/>
            <a:r>
              <a:rPr lang="nl-NL" noProof="0" dirty="0"/>
              <a:t>Type </a:t>
            </a:r>
            <a:r>
              <a:rPr lang="nl-NL" noProof="0" dirty="0" err="1"/>
              <a:t>your</a:t>
            </a:r>
            <a:r>
              <a:rPr lang="nl-NL" noProof="0" dirty="0"/>
              <a:t> </a:t>
            </a:r>
            <a:r>
              <a:rPr lang="nl-NL" noProof="0" dirty="0" err="1"/>
              <a:t>Location</a:t>
            </a:r>
            <a:r>
              <a:rPr lang="nl-NL" noProof="0" dirty="0"/>
              <a:t> </a:t>
            </a:r>
            <a:r>
              <a:rPr lang="nl-NL" noProof="0" dirty="0" err="1"/>
              <a:t>and</a:t>
            </a:r>
            <a:r>
              <a:rPr lang="nl-NL" noProof="0" dirty="0"/>
              <a:t> date</a:t>
            </a:r>
          </a:p>
        </p:txBody>
      </p:sp>
      <p:sp>
        <p:nvSpPr>
          <p:cNvPr id="9" name="Slide Number Placeholder 8"/>
          <p:cNvSpPr>
            <a:spLocks noGrp="1"/>
          </p:cNvSpPr>
          <p:nvPr>
            <p:ph type="sldNum" sz="quarter" idx="14"/>
          </p:nvPr>
        </p:nvSpPr>
        <p:spPr/>
        <p:txBody>
          <a:bodyPr/>
          <a:lstStyle/>
          <a:p>
            <a:fld id="{4EACBA47-91FC-4F0F-98EF-AF8B449ABA17}" type="slidenum">
              <a:rPr lang="nl-NL" noProof="0" smtClean="0"/>
              <a:pPr/>
              <a:t>‹#›</a:t>
            </a:fld>
            <a:endParaRPr lang="nl-NL" noProof="0"/>
          </a:p>
        </p:txBody>
      </p:sp>
      <p:sp>
        <p:nvSpPr>
          <p:cNvPr id="10" name="Footer Placeholder 9"/>
          <p:cNvSpPr>
            <a:spLocks noGrp="1"/>
          </p:cNvSpPr>
          <p:nvPr>
            <p:ph type="ftr" sz="quarter" idx="15"/>
          </p:nvPr>
        </p:nvSpPr>
        <p:spPr/>
        <p:txBody>
          <a:bodyPr/>
          <a:lstStyle/>
          <a:p>
            <a:r>
              <a:rPr lang="nl-NL" dirty="0"/>
              <a:t>Informatiebeheer Office 365 - Leeuwarden - April 2017</a:t>
            </a:r>
          </a:p>
        </p:txBody>
      </p:sp>
    </p:spTree>
    <p:extLst>
      <p:ext uri="{BB962C8B-B14F-4D97-AF65-F5344CB8AC3E}">
        <p14:creationId xmlns:p14="http://schemas.microsoft.com/office/powerpoint/2010/main" val="41206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ekst slide">
    <p:spTree>
      <p:nvGrpSpPr>
        <p:cNvPr id="1" name=""/>
        <p:cNvGrpSpPr/>
        <p:nvPr/>
      </p:nvGrpSpPr>
      <p:grpSpPr>
        <a:xfrm>
          <a:off x="0" y="0"/>
          <a:ext cx="0" cy="0"/>
          <a:chOff x="0" y="0"/>
          <a:chExt cx="0" cy="0"/>
        </a:xfrm>
      </p:grpSpPr>
      <p:sp>
        <p:nvSpPr>
          <p:cNvPr id="2" name="Title 1"/>
          <p:cNvSpPr>
            <a:spLocks noGrp="1"/>
          </p:cNvSpPr>
          <p:nvPr>
            <p:ph type="title"/>
          </p:nvPr>
        </p:nvSpPr>
        <p:spPr>
          <a:xfrm>
            <a:off x="455881" y="457200"/>
            <a:ext cx="11277063" cy="914400"/>
          </a:xfrm>
        </p:spPr>
        <p:txBody>
          <a:bodyPr/>
          <a:lstStyle/>
          <a:p>
            <a:r>
              <a:rPr lang="en-US" noProof="0" dirty="0"/>
              <a:t>Click to edit Master title style</a:t>
            </a:r>
            <a:endParaRPr lang="nl-NL" noProof="0" dirty="0"/>
          </a:p>
        </p:txBody>
      </p:sp>
      <p:sp>
        <p:nvSpPr>
          <p:cNvPr id="3" name="Content Placeholder 2"/>
          <p:cNvSpPr>
            <a:spLocks noGrp="1"/>
          </p:cNvSpPr>
          <p:nvPr>
            <p:ph idx="1"/>
          </p:nvPr>
        </p:nvSpPr>
        <p:spPr>
          <a:xfrm>
            <a:off x="455881" y="1714166"/>
            <a:ext cx="11277063" cy="4035801"/>
          </a:xfrm>
        </p:spPr>
        <p:txBody>
          <a:bodyPr/>
          <a:lstStyle>
            <a:lvl1pPr marL="0" indent="0">
              <a:spcBef>
                <a:spcPts val="0"/>
              </a:spcBef>
              <a:buNone/>
              <a:defRPr/>
            </a:lvl1pPr>
            <a:lvl2pPr marL="0" indent="0">
              <a:spcBef>
                <a:spcPts val="0"/>
              </a:spcBef>
              <a:buNone/>
              <a:defRPr/>
            </a:lvl2pPr>
          </a:lstStyle>
          <a:p>
            <a:pPr lvl="0"/>
            <a:r>
              <a:rPr lang="en-US" noProof="0" dirty="0"/>
              <a:t>Click to edit Master text styles</a:t>
            </a:r>
          </a:p>
          <a:p>
            <a:pPr lvl="1"/>
            <a:r>
              <a:rPr lang="en-US" noProof="0" dirty="0"/>
              <a:t>Second level</a:t>
            </a:r>
          </a:p>
        </p:txBody>
      </p:sp>
      <p:sp>
        <p:nvSpPr>
          <p:cNvPr id="7" name="Slide Number Placeholder 6"/>
          <p:cNvSpPr>
            <a:spLocks noGrp="1"/>
          </p:cNvSpPr>
          <p:nvPr>
            <p:ph type="sldNum" sz="quarter" idx="10"/>
          </p:nvPr>
        </p:nvSpPr>
        <p:spPr/>
        <p:txBody>
          <a:bodyPr/>
          <a:lstStyle/>
          <a:p>
            <a:fld id="{4EACBA47-91FC-4F0F-98EF-AF8B449ABA17}" type="slidenum">
              <a:rPr lang="nl-NL" noProof="0" smtClean="0"/>
              <a:pPr/>
              <a:t>‹#›</a:t>
            </a:fld>
            <a:endParaRPr lang="nl-NL" noProof="0"/>
          </a:p>
        </p:txBody>
      </p:sp>
      <p:sp>
        <p:nvSpPr>
          <p:cNvPr id="8" name="Footer Placeholder 7"/>
          <p:cNvSpPr>
            <a:spLocks noGrp="1"/>
          </p:cNvSpPr>
          <p:nvPr>
            <p:ph type="ftr" sz="quarter" idx="11"/>
          </p:nvPr>
        </p:nvSpPr>
        <p:spPr/>
        <p:txBody>
          <a:bodyPr/>
          <a:lstStyle/>
          <a:p>
            <a:r>
              <a:rPr lang="nl-NL" noProof="0"/>
              <a:t>Sogeti PowerPoint Referentie 2014</a:t>
            </a:r>
          </a:p>
        </p:txBody>
      </p:sp>
    </p:spTree>
    <p:extLst>
      <p:ext uri="{BB962C8B-B14F-4D97-AF65-F5344CB8AC3E}">
        <p14:creationId xmlns:p14="http://schemas.microsoft.com/office/powerpoint/2010/main" val="394062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ekst met bullets">
    <p:spTree>
      <p:nvGrpSpPr>
        <p:cNvPr id="1" name=""/>
        <p:cNvGrpSpPr/>
        <p:nvPr/>
      </p:nvGrpSpPr>
      <p:grpSpPr>
        <a:xfrm>
          <a:off x="0" y="0"/>
          <a:ext cx="0" cy="0"/>
          <a:chOff x="0" y="0"/>
          <a:chExt cx="0" cy="0"/>
        </a:xfrm>
      </p:grpSpPr>
      <p:sp>
        <p:nvSpPr>
          <p:cNvPr id="2" name="Title 1"/>
          <p:cNvSpPr>
            <a:spLocks noGrp="1"/>
          </p:cNvSpPr>
          <p:nvPr>
            <p:ph type="title"/>
          </p:nvPr>
        </p:nvSpPr>
        <p:spPr>
          <a:xfrm>
            <a:off x="455881" y="457200"/>
            <a:ext cx="11277063" cy="914400"/>
          </a:xfrm>
        </p:spPr>
        <p:txBody>
          <a:bodyPr/>
          <a:lstStyle/>
          <a:p>
            <a:r>
              <a:rPr lang="en-US" noProof="0"/>
              <a:t>Click to edit Master title style</a:t>
            </a:r>
            <a:endParaRPr lang="nl-NL" noProof="0"/>
          </a:p>
        </p:txBody>
      </p:sp>
      <p:sp>
        <p:nvSpPr>
          <p:cNvPr id="3" name="Content Placeholder 2"/>
          <p:cNvSpPr>
            <a:spLocks noGrp="1"/>
          </p:cNvSpPr>
          <p:nvPr>
            <p:ph idx="1"/>
          </p:nvPr>
        </p:nvSpPr>
        <p:spPr>
          <a:xfrm>
            <a:off x="455881" y="1714166"/>
            <a:ext cx="11277063" cy="40358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7" name="Slide Number Placeholder 6"/>
          <p:cNvSpPr>
            <a:spLocks noGrp="1"/>
          </p:cNvSpPr>
          <p:nvPr>
            <p:ph type="sldNum" sz="quarter" idx="10"/>
          </p:nvPr>
        </p:nvSpPr>
        <p:spPr/>
        <p:txBody>
          <a:bodyPr/>
          <a:lstStyle/>
          <a:p>
            <a:fld id="{4EACBA47-91FC-4F0F-98EF-AF8B449ABA17}" type="slidenum">
              <a:rPr lang="nl-NL" noProof="0" smtClean="0"/>
              <a:pPr/>
              <a:t>‹#›</a:t>
            </a:fld>
            <a:endParaRPr lang="nl-NL" noProof="0"/>
          </a:p>
        </p:txBody>
      </p:sp>
      <p:sp>
        <p:nvSpPr>
          <p:cNvPr id="8" name="Footer Placeholder 7"/>
          <p:cNvSpPr>
            <a:spLocks noGrp="1"/>
          </p:cNvSpPr>
          <p:nvPr>
            <p:ph type="ftr" sz="quarter" idx="11"/>
          </p:nvPr>
        </p:nvSpPr>
        <p:spPr/>
        <p:txBody>
          <a:bodyPr/>
          <a:lstStyle/>
          <a:p>
            <a:r>
              <a:rPr lang="nl-NL" noProof="0"/>
              <a:t>Sogeti PowerPoint Referentie 2014</a:t>
            </a:r>
          </a:p>
        </p:txBody>
      </p:sp>
    </p:spTree>
    <p:extLst>
      <p:ext uri="{BB962C8B-B14F-4D97-AF65-F5344CB8AC3E}">
        <p14:creationId xmlns:p14="http://schemas.microsoft.com/office/powerpoint/2010/main" val="335680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ekst met numm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nl-NL" noProof="0"/>
          </a:p>
        </p:txBody>
      </p:sp>
      <p:sp>
        <p:nvSpPr>
          <p:cNvPr id="3" name="Content Placeholder 2"/>
          <p:cNvSpPr>
            <a:spLocks noGrp="1"/>
          </p:cNvSpPr>
          <p:nvPr>
            <p:ph idx="1"/>
          </p:nvPr>
        </p:nvSpPr>
        <p:spPr/>
        <p:txBody>
          <a:bodyPr/>
          <a:lstStyle>
            <a:lvl1pPr>
              <a:buFont typeface="+mj-lt"/>
              <a:buAutoNum type="arabicPeriod"/>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7" name="Slide Number Placeholder 6"/>
          <p:cNvSpPr>
            <a:spLocks noGrp="1"/>
          </p:cNvSpPr>
          <p:nvPr>
            <p:ph type="sldNum" sz="quarter" idx="10"/>
          </p:nvPr>
        </p:nvSpPr>
        <p:spPr/>
        <p:txBody>
          <a:bodyPr/>
          <a:lstStyle/>
          <a:p>
            <a:fld id="{4EACBA47-91FC-4F0F-98EF-AF8B449ABA17}" type="slidenum">
              <a:rPr lang="nl-NL" noProof="0" smtClean="0"/>
              <a:pPr/>
              <a:t>‹#›</a:t>
            </a:fld>
            <a:endParaRPr lang="nl-NL" noProof="0"/>
          </a:p>
        </p:txBody>
      </p:sp>
      <p:sp>
        <p:nvSpPr>
          <p:cNvPr id="8" name="Footer Placeholder 7"/>
          <p:cNvSpPr>
            <a:spLocks noGrp="1"/>
          </p:cNvSpPr>
          <p:nvPr>
            <p:ph type="ftr" sz="quarter" idx="11"/>
          </p:nvPr>
        </p:nvSpPr>
        <p:spPr/>
        <p:txBody>
          <a:bodyPr/>
          <a:lstStyle/>
          <a:p>
            <a:r>
              <a:rPr lang="nl-NL" noProof="0"/>
              <a:t>Sogeti PowerPoint Referentie 2014</a:t>
            </a:r>
          </a:p>
        </p:txBody>
      </p:sp>
    </p:spTree>
    <p:extLst>
      <p:ext uri="{BB962C8B-B14F-4D97-AF65-F5344CB8AC3E}">
        <p14:creationId xmlns:p14="http://schemas.microsoft.com/office/powerpoint/2010/main" val="152949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Kolommen">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55882" y="1714166"/>
            <a:ext cx="5522941" cy="40358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15" name="Content Placeholder 8"/>
          <p:cNvSpPr>
            <a:spLocks noGrp="1"/>
          </p:cNvSpPr>
          <p:nvPr>
            <p:ph sz="quarter" idx="14"/>
          </p:nvPr>
        </p:nvSpPr>
        <p:spPr>
          <a:xfrm>
            <a:off x="6209583" y="1714166"/>
            <a:ext cx="5523361" cy="40358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8" name="Slide Number Placeholder 7"/>
          <p:cNvSpPr>
            <a:spLocks noGrp="1"/>
          </p:cNvSpPr>
          <p:nvPr>
            <p:ph type="sldNum" sz="quarter" idx="15"/>
          </p:nvPr>
        </p:nvSpPr>
        <p:spPr/>
        <p:txBody>
          <a:bodyPr/>
          <a:lstStyle/>
          <a:p>
            <a:fld id="{4EACBA47-91FC-4F0F-98EF-AF8B449ABA17}" type="slidenum">
              <a:rPr lang="nl-NL" noProof="0" smtClean="0"/>
              <a:pPr/>
              <a:t>‹#›</a:t>
            </a:fld>
            <a:endParaRPr lang="nl-NL" noProof="0"/>
          </a:p>
        </p:txBody>
      </p:sp>
      <p:sp>
        <p:nvSpPr>
          <p:cNvPr id="10" name="Footer Placeholder 9"/>
          <p:cNvSpPr>
            <a:spLocks noGrp="1"/>
          </p:cNvSpPr>
          <p:nvPr>
            <p:ph type="ftr" sz="quarter" idx="16"/>
          </p:nvPr>
        </p:nvSpPr>
        <p:spPr/>
        <p:txBody>
          <a:bodyPr/>
          <a:lstStyle/>
          <a:p>
            <a:r>
              <a:rPr lang="nl-NL" noProof="0"/>
              <a:t>Sogeti PowerPoint Referentie 2014</a:t>
            </a:r>
          </a:p>
        </p:txBody>
      </p:sp>
      <p:sp>
        <p:nvSpPr>
          <p:cNvPr id="3" name="Title 2"/>
          <p:cNvSpPr>
            <a:spLocks noGrp="1"/>
          </p:cNvSpPr>
          <p:nvPr>
            <p:ph type="title"/>
          </p:nvPr>
        </p:nvSpPr>
        <p:spPr>
          <a:xfrm>
            <a:off x="455881" y="457200"/>
            <a:ext cx="11277063" cy="914400"/>
          </a:xfrm>
        </p:spPr>
        <p:txBody>
          <a:bodyPr/>
          <a:lstStyle/>
          <a:p>
            <a:r>
              <a:rPr lang="en-US"/>
              <a:t>Click to edit Master title style</a:t>
            </a:r>
            <a:endParaRPr lang="en-GB"/>
          </a:p>
        </p:txBody>
      </p:sp>
    </p:spTree>
    <p:extLst>
      <p:ext uri="{BB962C8B-B14F-4D97-AF65-F5344CB8AC3E}">
        <p14:creationId xmlns:p14="http://schemas.microsoft.com/office/powerpoint/2010/main" val="237382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Kolommen met nummers">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55881" y="1714167"/>
            <a:ext cx="5523361" cy="4035800"/>
          </a:xfrm>
        </p:spPr>
        <p:txBody>
          <a:bodyPr/>
          <a:lstStyle>
            <a:lvl1pPr>
              <a:buFont typeface="+mj-lt"/>
              <a:buAutoNum type="arabicPeriod"/>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15" name="Content Placeholder 8"/>
          <p:cNvSpPr>
            <a:spLocks noGrp="1"/>
          </p:cNvSpPr>
          <p:nvPr>
            <p:ph sz="quarter" idx="14"/>
          </p:nvPr>
        </p:nvSpPr>
        <p:spPr>
          <a:xfrm>
            <a:off x="6209583" y="1714167"/>
            <a:ext cx="5523361" cy="4035800"/>
          </a:xfrm>
        </p:spPr>
        <p:txBody>
          <a:bodyPr/>
          <a:lstStyle>
            <a:lvl1pPr>
              <a:buFont typeface="+mj-lt"/>
              <a:buAutoNum type="arabicPeriod"/>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8" name="Slide Number Placeholder 7"/>
          <p:cNvSpPr>
            <a:spLocks noGrp="1"/>
          </p:cNvSpPr>
          <p:nvPr>
            <p:ph type="sldNum" sz="quarter" idx="15"/>
          </p:nvPr>
        </p:nvSpPr>
        <p:spPr/>
        <p:txBody>
          <a:bodyPr/>
          <a:lstStyle/>
          <a:p>
            <a:fld id="{4EACBA47-91FC-4F0F-98EF-AF8B449ABA17}" type="slidenum">
              <a:rPr lang="nl-NL" noProof="0" smtClean="0"/>
              <a:pPr/>
              <a:t>‹#›</a:t>
            </a:fld>
            <a:endParaRPr lang="nl-NL" noProof="0"/>
          </a:p>
        </p:txBody>
      </p:sp>
      <p:sp>
        <p:nvSpPr>
          <p:cNvPr id="10" name="Footer Placeholder 9"/>
          <p:cNvSpPr>
            <a:spLocks noGrp="1"/>
          </p:cNvSpPr>
          <p:nvPr>
            <p:ph type="ftr" sz="quarter" idx="16"/>
          </p:nvPr>
        </p:nvSpPr>
        <p:spPr/>
        <p:txBody>
          <a:bodyPr/>
          <a:lstStyle/>
          <a:p>
            <a:r>
              <a:rPr lang="nl-NL" noProof="0"/>
              <a:t>Sogeti PowerPoint Referentie 2014</a:t>
            </a:r>
          </a:p>
        </p:txBody>
      </p:sp>
      <p:sp>
        <p:nvSpPr>
          <p:cNvPr id="3" name="Title 2"/>
          <p:cNvSpPr>
            <a:spLocks noGrp="1"/>
          </p:cNvSpPr>
          <p:nvPr>
            <p:ph type="title"/>
          </p:nvPr>
        </p:nvSpPr>
        <p:spPr>
          <a:xfrm>
            <a:off x="455881" y="457200"/>
            <a:ext cx="11277063" cy="914400"/>
          </a:xfrm>
        </p:spPr>
        <p:txBody>
          <a:bodyPr/>
          <a:lstStyle/>
          <a:p>
            <a:r>
              <a:rPr lang="en-US"/>
              <a:t>Click to edit Master title style</a:t>
            </a:r>
            <a:endParaRPr lang="en-GB"/>
          </a:p>
        </p:txBody>
      </p:sp>
    </p:spTree>
    <p:extLst>
      <p:ext uri="{BB962C8B-B14F-4D97-AF65-F5344CB8AC3E}">
        <p14:creationId xmlns:p14="http://schemas.microsoft.com/office/powerpoint/2010/main" val="56424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nl-NL" noProof="0"/>
          </a:p>
        </p:txBody>
      </p:sp>
      <p:sp>
        <p:nvSpPr>
          <p:cNvPr id="6" name="Slide Number Placeholder 5"/>
          <p:cNvSpPr>
            <a:spLocks noGrp="1"/>
          </p:cNvSpPr>
          <p:nvPr>
            <p:ph type="sldNum" sz="quarter" idx="10"/>
          </p:nvPr>
        </p:nvSpPr>
        <p:spPr/>
        <p:txBody>
          <a:bodyPr/>
          <a:lstStyle/>
          <a:p>
            <a:fld id="{4EACBA47-91FC-4F0F-98EF-AF8B449ABA17}" type="slidenum">
              <a:rPr lang="nl-NL" noProof="0" smtClean="0"/>
              <a:pPr/>
              <a:t>‹#›</a:t>
            </a:fld>
            <a:endParaRPr lang="nl-NL" noProof="0"/>
          </a:p>
        </p:txBody>
      </p:sp>
      <p:sp>
        <p:nvSpPr>
          <p:cNvPr id="7" name="Footer Placeholder 6"/>
          <p:cNvSpPr>
            <a:spLocks noGrp="1"/>
          </p:cNvSpPr>
          <p:nvPr>
            <p:ph type="ftr" sz="quarter" idx="11"/>
          </p:nvPr>
        </p:nvSpPr>
        <p:spPr/>
        <p:txBody>
          <a:bodyPr/>
          <a:lstStyle/>
          <a:p>
            <a:r>
              <a:rPr lang="nl-NL" noProof="0"/>
              <a:t>Sogeti PowerPoint Referentie 2014</a:t>
            </a:r>
          </a:p>
        </p:txBody>
      </p:sp>
    </p:spTree>
    <p:extLst>
      <p:ext uri="{BB962C8B-B14F-4D97-AF65-F5344CB8AC3E}">
        <p14:creationId xmlns:p14="http://schemas.microsoft.com/office/powerpoint/2010/main" val="354864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heme" Target="../theme/theme4.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5.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vmlDrawing" Target="../drawings/vmlDrawing1.vml"/><Relationship Id="rId7" Type="http://schemas.openxmlformats.org/officeDocument/2006/relationships/oleObject" Target="../embeddings/oleObject1.bin"/><Relationship Id="rId2"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vmlDrawing" Target="../drawings/vmlDrawing2.vml"/><Relationship Id="rId7" Type="http://schemas.openxmlformats.org/officeDocument/2006/relationships/oleObject" Target="../embeddings/oleObject2.bin"/><Relationship Id="rId2" Type="http://schemas.openxmlformats.org/officeDocument/2006/relationships/theme" Target="../theme/theme7.xml"/><Relationship Id="rId1" Type="http://schemas.openxmlformats.org/officeDocument/2006/relationships/slideLayout" Target="../slideLayouts/slideLayout69.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9.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8.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13" y="1600200"/>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834087640"/>
      </p:ext>
    </p:extLst>
  </p:cSld>
  <p:clrMap bg1="lt1" tx1="dk1" bg2="lt2" tx2="dk2" accent1="accent1" accent2="accent2" accent3="accent3" accent4="accent4" accent5="accent5" accent6="accent6" hlink="hlink" folHlink="folHlink"/>
  <p:sldLayoutIdLst>
    <p:sldLayoutId id="2147484003" r:id="rId1"/>
    <p:sldLayoutId id="2147484006" r:id="rId2"/>
    <p:sldLayoutId id="2147484007" r:id="rId3"/>
    <p:sldLayoutId id="2147484008" r:id="rId4"/>
    <p:sldLayoutId id="2147484009" r:id="rId5"/>
    <p:sldLayoutId id="2147484010" r:id="rId6"/>
    <p:sldLayoutId id="2147484021"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2" r:id="rId18"/>
    <p:sldLayoutId id="2147484023" r:id="rId19"/>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5881" y="457200"/>
            <a:ext cx="11277063" cy="914400"/>
          </a:xfrm>
          <a:prstGeom prst="rect">
            <a:avLst/>
          </a:prstGeom>
          <a:solidFill>
            <a:schemeClr val="accent2"/>
          </a:solidFill>
        </p:spPr>
        <p:txBody>
          <a:bodyPr vert="horz" lIns="180000" tIns="0" rIns="180000" bIns="0" rtlCol="0" anchor="ctr">
            <a:noAutofit/>
          </a:bodyPr>
          <a:lstStyle/>
          <a:p>
            <a:r>
              <a:rPr lang="en-US" noProof="0" dirty="0"/>
              <a:t>Click to edit Master title style</a:t>
            </a:r>
            <a:endParaRPr lang="nl-NL" noProof="0" dirty="0"/>
          </a:p>
        </p:txBody>
      </p:sp>
      <p:sp>
        <p:nvSpPr>
          <p:cNvPr id="3" name="Text Placeholder 2"/>
          <p:cNvSpPr>
            <a:spLocks noGrp="1"/>
          </p:cNvSpPr>
          <p:nvPr>
            <p:ph type="body" idx="1"/>
          </p:nvPr>
        </p:nvSpPr>
        <p:spPr>
          <a:xfrm>
            <a:off x="455881" y="1714166"/>
            <a:ext cx="11277063" cy="40358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l-NL" noProof="0" dirty="0"/>
          </a:p>
        </p:txBody>
      </p:sp>
      <p:sp>
        <p:nvSpPr>
          <p:cNvPr id="5" name="Footer Placeholder 4"/>
          <p:cNvSpPr>
            <a:spLocks noGrp="1"/>
          </p:cNvSpPr>
          <p:nvPr>
            <p:ph type="ftr" sz="quarter" idx="3"/>
          </p:nvPr>
        </p:nvSpPr>
        <p:spPr>
          <a:xfrm>
            <a:off x="2512178" y="6144036"/>
            <a:ext cx="8825893" cy="256480"/>
          </a:xfrm>
          <a:prstGeom prst="rect">
            <a:avLst/>
          </a:prstGeom>
          <a:noFill/>
        </p:spPr>
        <p:txBody>
          <a:bodyPr wrap="square" lIns="0" tIns="0" rIns="0" bIns="0" rtlCol="0">
            <a:noAutofit/>
          </a:bodyPr>
          <a:lstStyle>
            <a:lvl1pPr marL="0" algn="r" defTabSz="914171" rtl="0" eaLnBrk="1" latinLnBrk="0" hangingPunct="1">
              <a:lnSpc>
                <a:spcPts val="1866"/>
              </a:lnSpc>
              <a:defRPr lang="en-US" sz="1200" kern="1200" dirty="0" smtClean="0">
                <a:solidFill>
                  <a:schemeClr val="tx1"/>
                </a:solidFill>
                <a:latin typeface="+mn-lt"/>
                <a:ea typeface="+mn-ea"/>
                <a:cs typeface="+mn-cs"/>
              </a:defRPr>
            </a:lvl1pPr>
          </a:lstStyle>
          <a:p>
            <a:r>
              <a:rPr lang="nl-NL" dirty="0"/>
              <a:t>Sogeti PowerPoint Referentie 2014</a:t>
            </a:r>
          </a:p>
        </p:txBody>
      </p:sp>
      <p:sp>
        <p:nvSpPr>
          <p:cNvPr id="6" name="Slide Number Placeholder 5"/>
          <p:cNvSpPr>
            <a:spLocks noGrp="1"/>
          </p:cNvSpPr>
          <p:nvPr>
            <p:ph type="sldNum" sz="quarter" idx="4"/>
          </p:nvPr>
        </p:nvSpPr>
        <p:spPr>
          <a:xfrm>
            <a:off x="11445019" y="6144036"/>
            <a:ext cx="287925" cy="256480"/>
          </a:xfrm>
          <a:prstGeom prst="rect">
            <a:avLst/>
          </a:prstGeom>
          <a:noFill/>
        </p:spPr>
        <p:txBody>
          <a:bodyPr wrap="square" lIns="0" tIns="0" rIns="0" bIns="0" rtlCol="0">
            <a:noAutofit/>
          </a:bodyPr>
          <a:lstStyle>
            <a:lvl1pPr marL="0" algn="r" defTabSz="914171" rtl="0" eaLnBrk="1" latinLnBrk="0" hangingPunct="1">
              <a:lnSpc>
                <a:spcPts val="1866"/>
              </a:lnSpc>
              <a:defRPr lang="en-US" sz="1200" kern="1200" smtClean="0">
                <a:solidFill>
                  <a:schemeClr val="accent1"/>
                </a:solidFill>
                <a:latin typeface="+mn-lt"/>
                <a:ea typeface="+mn-ea"/>
                <a:cs typeface="+mn-cs"/>
              </a:defRPr>
            </a:lvl1pPr>
          </a:lstStyle>
          <a:p>
            <a:fld id="{4EACBA47-91FC-4F0F-98EF-AF8B449ABA17}" type="slidenum">
              <a:rPr lang="nl-NL" smtClean="0"/>
              <a:pPr/>
              <a:t>‹#›</a:t>
            </a:fld>
            <a:endParaRPr lang="nl-NL" dirty="0"/>
          </a:p>
        </p:txBody>
      </p:sp>
      <p:sp>
        <p:nvSpPr>
          <p:cNvPr id="35" name="TextBox 34"/>
          <p:cNvSpPr txBox="1"/>
          <p:nvPr/>
        </p:nvSpPr>
        <p:spPr>
          <a:xfrm>
            <a:off x="11338070" y="6144036"/>
            <a:ext cx="215944" cy="256480"/>
          </a:xfrm>
          <a:prstGeom prst="rect">
            <a:avLst/>
          </a:prstGeom>
          <a:noFill/>
        </p:spPr>
        <p:txBody>
          <a:bodyPr wrap="square" lIns="0" tIns="0" rIns="0" bIns="0" rtlCol="0">
            <a:noAutofit/>
          </a:bodyPr>
          <a:lstStyle/>
          <a:p>
            <a:pPr algn="ctr">
              <a:lnSpc>
                <a:spcPts val="1866"/>
              </a:lnSpc>
            </a:pPr>
            <a:r>
              <a:rPr lang="nl-NL" sz="1200" noProof="0" dirty="0"/>
              <a:t>|</a:t>
            </a:r>
          </a:p>
        </p:txBody>
      </p:sp>
      <p:grpSp>
        <p:nvGrpSpPr>
          <p:cNvPr id="100" name="Group 99"/>
          <p:cNvGrpSpPr/>
          <p:nvPr userDrawn="1"/>
        </p:nvGrpSpPr>
        <p:grpSpPr bwMode="gray">
          <a:xfrm>
            <a:off x="455882" y="6078953"/>
            <a:ext cx="1479485" cy="321563"/>
            <a:chOff x="2749538" y="2279310"/>
            <a:chExt cx="1479870" cy="321562"/>
          </a:xfrm>
        </p:grpSpPr>
        <p:sp>
          <p:nvSpPr>
            <p:cNvPr id="101" name="Rectangle 100"/>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102" name="Rectangle 101"/>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103" name="Group 21"/>
            <p:cNvGrpSpPr/>
            <p:nvPr/>
          </p:nvGrpSpPr>
          <p:grpSpPr bwMode="gray">
            <a:xfrm>
              <a:off x="3373209" y="2357164"/>
              <a:ext cx="726277" cy="153325"/>
              <a:chOff x="-1490663" y="3248025"/>
              <a:chExt cx="2857501" cy="603250"/>
            </a:xfrm>
          </p:grpSpPr>
          <p:sp>
            <p:nvSpPr>
              <p:cNvPr id="105" name="Freeform 104"/>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106" name="Freeform 105"/>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107" name="Freeform 106"/>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108" name="Freeform 107"/>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109" name="Freeform 108"/>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sp>
            <p:nvSpPr>
              <p:cNvPr id="110" name="Freeform 109"/>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
          <p:nvSpPr>
            <p:cNvPr id="104" name="Freeform 13"/>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nl-NL" sz="2399" noProof="0"/>
            </a:p>
          </p:txBody>
        </p:sp>
      </p:grpSp>
    </p:spTree>
    <p:extLst>
      <p:ext uri="{BB962C8B-B14F-4D97-AF65-F5344CB8AC3E}">
        <p14:creationId xmlns:p14="http://schemas.microsoft.com/office/powerpoint/2010/main" val="998133638"/>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71" rtl="0" eaLnBrk="1" latinLnBrk="0" hangingPunct="1">
        <a:lnSpc>
          <a:spcPts val="4266"/>
        </a:lnSpc>
        <a:spcBef>
          <a:spcPct val="0"/>
        </a:spcBef>
        <a:buNone/>
        <a:defRPr sz="3732" b="1" kern="1200">
          <a:solidFill>
            <a:schemeClr val="bg1"/>
          </a:solidFill>
          <a:latin typeface="+mj-lt"/>
          <a:ea typeface="+mj-ea"/>
          <a:cs typeface="+mj-cs"/>
        </a:defRPr>
      </a:lvl1pPr>
    </p:titleStyle>
    <p:bodyStyle>
      <a:lvl1pPr marL="467883" indent="-467883" algn="l" defTabSz="914171" rtl="0" eaLnBrk="1" latinLnBrk="0" hangingPunct="1">
        <a:lnSpc>
          <a:spcPts val="2666"/>
        </a:lnSpc>
        <a:spcBef>
          <a:spcPts val="0"/>
        </a:spcBef>
        <a:buFont typeface="Wingdings 3" pitchFamily="18" charset="2"/>
        <a:buChar char=""/>
        <a:tabLst/>
        <a:defRPr sz="2399" b="1" kern="1200">
          <a:solidFill>
            <a:schemeClr val="tx1"/>
          </a:solidFill>
          <a:latin typeface="+mn-lt"/>
          <a:ea typeface="+mn-ea"/>
          <a:cs typeface="+mn-cs"/>
        </a:defRPr>
      </a:lvl1pPr>
      <a:lvl2pPr marL="899775" indent="-466609" algn="l" defTabSz="987178" rtl="0" eaLnBrk="1" latinLnBrk="0" hangingPunct="1">
        <a:lnSpc>
          <a:spcPts val="2666"/>
        </a:lnSpc>
        <a:spcBef>
          <a:spcPts val="0"/>
        </a:spcBef>
        <a:buFont typeface="Wingdings 3" pitchFamily="18" charset="2"/>
        <a:buChar char=""/>
        <a:tabLst/>
        <a:defRPr sz="2399" b="1" kern="1200">
          <a:solidFill>
            <a:schemeClr val="tx1"/>
          </a:solidFill>
          <a:latin typeface="+mn-lt"/>
          <a:ea typeface="+mn-ea"/>
          <a:cs typeface="+mn-cs"/>
        </a:defRPr>
      </a:lvl2pPr>
      <a:lvl3pPr marL="1347451" indent="-466609" algn="l" defTabSz="987178" rtl="0" eaLnBrk="1" latinLnBrk="0" hangingPunct="1">
        <a:lnSpc>
          <a:spcPts val="2666"/>
        </a:lnSpc>
        <a:spcBef>
          <a:spcPts val="0"/>
        </a:spcBef>
        <a:buFont typeface="Century Gothic" pitchFamily="34" charset="0"/>
        <a:buChar char="•"/>
        <a:tabLst/>
        <a:defRPr sz="2399" b="1" kern="1200">
          <a:solidFill>
            <a:schemeClr val="tx1"/>
          </a:solidFill>
          <a:latin typeface="+mn-lt"/>
          <a:ea typeface="+mn-ea"/>
          <a:cs typeface="+mn-cs"/>
        </a:defRPr>
      </a:lvl3pPr>
      <a:lvl4pPr marL="1793426" indent="-466609" algn="l" defTabSz="914171" rtl="0" eaLnBrk="1" latinLnBrk="0" hangingPunct="1">
        <a:lnSpc>
          <a:spcPts val="2399"/>
        </a:lnSpc>
        <a:spcBef>
          <a:spcPts val="0"/>
        </a:spcBef>
        <a:buFont typeface="Century Gothic" pitchFamily="34" charset="0"/>
        <a:buChar char="•"/>
        <a:defRPr sz="1866" b="1" kern="1200">
          <a:solidFill>
            <a:schemeClr val="tx1"/>
          </a:solidFill>
          <a:latin typeface="+mn-lt"/>
          <a:ea typeface="+mn-ea"/>
          <a:cs typeface="+mn-cs"/>
        </a:defRPr>
      </a:lvl4pPr>
      <a:lvl5pPr marL="2248926" indent="-466609" algn="l" defTabSz="668172" rtl="0" eaLnBrk="1" latinLnBrk="0" hangingPunct="1">
        <a:lnSpc>
          <a:spcPts val="2399"/>
        </a:lnSpc>
        <a:spcBef>
          <a:spcPts val="0"/>
        </a:spcBef>
        <a:buFont typeface="Century Gothic" pitchFamily="34" charset="0"/>
        <a:buChar char="•"/>
        <a:defRPr sz="1866" b="1" kern="1200">
          <a:solidFill>
            <a:schemeClr val="tx1"/>
          </a:solidFill>
          <a:latin typeface="+mn-lt"/>
          <a:ea typeface="+mn-ea"/>
          <a:cs typeface="+mn-cs"/>
        </a:defRPr>
      </a:lvl5pPr>
      <a:lvl6pPr marL="2513971"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57"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43"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28"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6" algn="l" defTabSz="914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6" y="228608"/>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4" y="1447808"/>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3807146"/>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7" y="228610"/>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5" y="144781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4416378"/>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Lst>
  <p:transition>
    <p:fade/>
  </p:transition>
  <p:hf sldNum="0" hdr="0" ftr="0" dt="0"/>
  <p:txStyles>
    <p:titleStyle>
      <a:lvl1pPr algn="l" defTabSz="914089"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3" marR="0" indent="-339623" algn="l" defTabSz="914089"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916" marR="0" indent="-233293" algn="l" defTabSz="914089"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273"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798273" algn="l"/>
        </a:tabLst>
        <a:defRPr sz="2399" kern="1200" spc="0" baseline="0">
          <a:gradFill>
            <a:gsLst>
              <a:gs pos="1250">
                <a:schemeClr val="bg2"/>
              </a:gs>
              <a:gs pos="100000">
                <a:schemeClr val="bg2"/>
              </a:gs>
            </a:gsLst>
            <a:lin ang="5400000" scaled="0"/>
          </a:gradFill>
          <a:latin typeface="+mn-lt"/>
          <a:ea typeface="+mn-ea"/>
          <a:cs typeface="+mn-cs"/>
        </a:defRPr>
      </a:lvl3pPr>
      <a:lvl4pPr marL="1029979" marR="0" indent="-231705" algn="l" defTabSz="914089"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336"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1255336" algn="l"/>
        </a:tabLst>
        <a:defRPr sz="1999" kern="1200" spc="0" baseline="0">
          <a:gradFill>
            <a:gsLst>
              <a:gs pos="1250">
                <a:schemeClr val="bg2"/>
              </a:gs>
              <a:gs pos="100000">
                <a:schemeClr val="bg2"/>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867252687"/>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Lst>
  <p:transition>
    <p:fade/>
  </p:transition>
  <p:hf sldNum="0"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7" y="228610"/>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5" y="144781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0240922"/>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Lst>
  <p:transition>
    <p:fade/>
  </p:transition>
  <p:hf sldNum="0" hdr="0" ftr="0" dt="0"/>
  <p:txStyles>
    <p:titleStyle>
      <a:lvl1pPr algn="l" defTabSz="914089"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3" marR="0" indent="-339623" algn="l" defTabSz="914089"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916" marR="0" indent="-233293" algn="l" defTabSz="914089"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273"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798273" algn="l"/>
        </a:tabLst>
        <a:defRPr sz="2399" kern="1200" spc="0" baseline="0">
          <a:gradFill>
            <a:gsLst>
              <a:gs pos="1250">
                <a:schemeClr val="bg2"/>
              </a:gs>
              <a:gs pos="100000">
                <a:schemeClr val="bg2"/>
              </a:gs>
            </a:gsLst>
            <a:lin ang="5400000" scaled="0"/>
          </a:gradFill>
          <a:latin typeface="+mn-lt"/>
          <a:ea typeface="+mn-ea"/>
          <a:cs typeface="+mn-cs"/>
        </a:defRPr>
      </a:lvl3pPr>
      <a:lvl4pPr marL="1029979" marR="0" indent="-231705" algn="l" defTabSz="914089"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336"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1255336" algn="l"/>
        </a:tabLst>
        <a:defRPr sz="1999" kern="1200" spc="0" baseline="0">
          <a:gradFill>
            <a:gsLst>
              <a:gs pos="1250">
                <a:schemeClr val="bg2"/>
              </a:gs>
              <a:gs pos="100000">
                <a:schemeClr val="bg2"/>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7"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338138" y="228600"/>
            <a:ext cx="11518900"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custDataLst>
              <p:tags r:id="rId6"/>
            </p:custDataLst>
          </p:nvPr>
        </p:nvSpPr>
        <p:spPr>
          <a:xfrm>
            <a:off x="328508" y="1247775"/>
            <a:ext cx="11518900"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9771805"/>
      </p:ext>
    </p:extLst>
  </p:cSld>
  <p:clrMap bg1="lt1" tx1="dk1" bg2="lt2" tx2="dk2" accent1="accent1" accent2="accent2" accent3="accent3" accent4="accent4" accent5="accent5" accent6="accent6" hlink="hlink" folHlink="folHlink"/>
  <p:sldLayoutIdLst>
    <p:sldLayoutId id="214748412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089" rtl="0" eaLnBrk="1" latinLnBrk="0" hangingPunct="1">
        <a:lnSpc>
          <a:spcPct val="90000"/>
        </a:lnSpc>
        <a:spcBef>
          <a:spcPct val="0"/>
        </a:spcBef>
        <a:buNone/>
        <a:defRPr lang="en-US" sz="3599" b="0" kern="1200" cap="none" spc="-100" baseline="0" dirty="0" smtClean="0">
          <a:ln w="3175">
            <a:noFill/>
          </a:ln>
          <a:solidFill>
            <a:schemeClr val="tx1"/>
          </a:solidFill>
          <a:effectLst/>
          <a:latin typeface="Segoe UI Light" pitchFamily="34" charset="0"/>
          <a:ea typeface="Segoe UI" pitchFamily="34" charset="0"/>
          <a:cs typeface="Segoe UI" pitchFamily="34" charset="0"/>
        </a:defRPr>
      </a:lvl1pPr>
    </p:titleStyle>
    <p:bodyStyle>
      <a:lvl1pPr marL="274238" indent="-274238" algn="l" defTabSz="914089" rtl="0" eaLnBrk="1" latinLnBrk="0" hangingPunct="1">
        <a:lnSpc>
          <a:spcPct val="100000"/>
        </a:lnSpc>
        <a:spcBef>
          <a:spcPts val="1200"/>
        </a:spcBef>
        <a:buClr>
          <a:schemeClr val="accent1"/>
        </a:buClr>
        <a:buSzPct val="100000"/>
        <a:buFontTx/>
        <a:buBlip>
          <a:blip r:embed="rId9"/>
        </a:buBlip>
        <a:defRPr sz="1999"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475" indent="-274238" algn="l" defTabSz="914089" rtl="0" eaLnBrk="1" latinLnBrk="0" hangingPunct="1">
        <a:lnSpc>
          <a:spcPct val="100000"/>
        </a:lnSpc>
        <a:spcBef>
          <a:spcPts val="600"/>
        </a:spcBef>
        <a:buClr>
          <a:schemeClr val="accent1"/>
        </a:buClr>
        <a:buSzPct val="100000"/>
        <a:buFontTx/>
        <a:buBlip>
          <a:blip r:embed="rId9"/>
        </a:buBlip>
        <a:defRPr sz="1999"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713" indent="-274238" algn="l" defTabSz="914089" rtl="0" eaLnBrk="1" latinLnBrk="0" hangingPunct="1">
        <a:lnSpc>
          <a:spcPct val="100000"/>
        </a:lnSpc>
        <a:spcBef>
          <a:spcPts val="300"/>
        </a:spcBef>
        <a:buClr>
          <a:schemeClr val="accent1"/>
        </a:buClr>
        <a:buSzPct val="100000"/>
        <a:buFontTx/>
        <a:buBlip>
          <a:blip r:embed="rId9"/>
        </a:buBlip>
        <a:defRPr sz="1799"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6951" indent="-274238" algn="l" defTabSz="914089"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189" indent="-274238" algn="l" defTabSz="914089"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1"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338138" y="228600"/>
            <a:ext cx="11518900"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custDataLst>
              <p:tags r:id="rId6"/>
            </p:custDataLst>
          </p:nvPr>
        </p:nvSpPr>
        <p:spPr>
          <a:xfrm>
            <a:off x="328508" y="1247775"/>
            <a:ext cx="11518900"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6969291"/>
      </p:ext>
    </p:extLst>
  </p:cSld>
  <p:clrMap bg1="lt1" tx1="dk1" bg2="lt2" tx2="dk2" accent1="accent1" accent2="accent2" accent3="accent3" accent4="accent4" accent5="accent5" accent6="accent6" hlink="hlink" folHlink="folHlink"/>
  <p:sldLayoutIdLst>
    <p:sldLayoutId id="214748408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089" rtl="0" eaLnBrk="1" latinLnBrk="0" hangingPunct="1">
        <a:lnSpc>
          <a:spcPct val="90000"/>
        </a:lnSpc>
        <a:spcBef>
          <a:spcPct val="0"/>
        </a:spcBef>
        <a:buNone/>
        <a:defRPr lang="en-US" sz="3599" b="0" kern="1200" cap="none" spc="-100" baseline="0" dirty="0" smtClean="0">
          <a:ln w="3175">
            <a:noFill/>
          </a:ln>
          <a:solidFill>
            <a:schemeClr val="tx1"/>
          </a:solidFill>
          <a:effectLst/>
          <a:latin typeface="Segoe UI Light" pitchFamily="34" charset="0"/>
          <a:ea typeface="Segoe UI" pitchFamily="34" charset="0"/>
          <a:cs typeface="Segoe UI" pitchFamily="34" charset="0"/>
        </a:defRPr>
      </a:lvl1pPr>
    </p:titleStyle>
    <p:bodyStyle>
      <a:lvl1pPr marL="274238" indent="-274238" algn="l" defTabSz="914089" rtl="0" eaLnBrk="1" latinLnBrk="0" hangingPunct="1">
        <a:lnSpc>
          <a:spcPct val="100000"/>
        </a:lnSpc>
        <a:spcBef>
          <a:spcPts val="1200"/>
        </a:spcBef>
        <a:buClr>
          <a:schemeClr val="accent1"/>
        </a:buClr>
        <a:buSzPct val="100000"/>
        <a:buFontTx/>
        <a:buBlip>
          <a:blip r:embed="rId9"/>
        </a:buBlip>
        <a:defRPr sz="1999"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475" indent="-274238" algn="l" defTabSz="914089" rtl="0" eaLnBrk="1" latinLnBrk="0" hangingPunct="1">
        <a:lnSpc>
          <a:spcPct val="100000"/>
        </a:lnSpc>
        <a:spcBef>
          <a:spcPts val="600"/>
        </a:spcBef>
        <a:buClr>
          <a:schemeClr val="accent1"/>
        </a:buClr>
        <a:buSzPct val="100000"/>
        <a:buFontTx/>
        <a:buBlip>
          <a:blip r:embed="rId9"/>
        </a:buBlip>
        <a:defRPr sz="1999"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713" indent="-274238" algn="l" defTabSz="914089" rtl="0" eaLnBrk="1" latinLnBrk="0" hangingPunct="1">
        <a:lnSpc>
          <a:spcPct val="100000"/>
        </a:lnSpc>
        <a:spcBef>
          <a:spcPts val="300"/>
        </a:spcBef>
        <a:buClr>
          <a:schemeClr val="accent1"/>
        </a:buClr>
        <a:buSzPct val="100000"/>
        <a:buFontTx/>
        <a:buBlip>
          <a:blip r:embed="rId9"/>
        </a:buBlip>
        <a:defRPr sz="1799"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6951" indent="-274238" algn="l" defTabSz="914089"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189" indent="-274238" algn="l" defTabSz="914089"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7" y="228610"/>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5" y="144781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6036032"/>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Lst>
  <p:transition>
    <p:fade/>
  </p:transition>
  <p:hf sldNum="0" hdr="0" ftr="0" dt="0"/>
  <p:txStyles>
    <p:titleStyle>
      <a:lvl1pPr algn="l" defTabSz="914089"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3" marR="0" indent="-339623" algn="l" defTabSz="914089"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916" marR="0" indent="-233293" algn="l" defTabSz="914089"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273"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798273" algn="l"/>
        </a:tabLst>
        <a:defRPr sz="2399" kern="1200" spc="0" baseline="0">
          <a:gradFill>
            <a:gsLst>
              <a:gs pos="1250">
                <a:schemeClr val="bg2"/>
              </a:gs>
              <a:gs pos="100000">
                <a:schemeClr val="bg2"/>
              </a:gs>
            </a:gsLst>
            <a:lin ang="5400000" scaled="0"/>
          </a:gradFill>
          <a:latin typeface="+mn-lt"/>
          <a:ea typeface="+mn-ea"/>
          <a:cs typeface="+mn-cs"/>
        </a:defRPr>
      </a:lvl3pPr>
      <a:lvl4pPr marL="1029979" marR="0" indent="-231705" algn="l" defTabSz="914089"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336"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1255336" algn="l"/>
        </a:tabLst>
        <a:defRPr sz="1999" kern="1200" spc="0" baseline="0">
          <a:gradFill>
            <a:gsLst>
              <a:gs pos="1250">
                <a:schemeClr val="bg2"/>
              </a:gs>
              <a:gs pos="100000">
                <a:schemeClr val="bg2"/>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441" y="2394858"/>
            <a:ext cx="10969943"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441" y="706438"/>
            <a:ext cx="10969943"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3338307329"/>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9" r:id="rId3"/>
    <p:sldLayoutId id="2147484116" r:id="rId4"/>
    <p:sldLayoutId id="2147484107" r:id="rId5"/>
    <p:sldLayoutId id="2147484108" r:id="rId6"/>
    <p:sldLayoutId id="2147484109" r:id="rId7"/>
    <p:sldLayoutId id="2147484111" r:id="rId8"/>
    <p:sldLayoutId id="2147484112" r:id="rId9"/>
    <p:sldLayoutId id="2147484114" r:id="rId10"/>
    <p:sldLayoutId id="214748411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ctr" defTabSz="913954"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54" rtl="0" eaLnBrk="1" latinLnBrk="0" hangingPunct="1">
        <a:defRPr sz="1799" kern="1200">
          <a:solidFill>
            <a:schemeClr val="tx1"/>
          </a:solidFill>
          <a:latin typeface="+mn-lt"/>
          <a:ea typeface="+mn-ea"/>
          <a:cs typeface="+mn-cs"/>
        </a:defRPr>
      </a:lvl1pPr>
      <a:lvl2pPr marL="456977" algn="l" defTabSz="913954" rtl="0" eaLnBrk="1" latinLnBrk="0" hangingPunct="1">
        <a:defRPr sz="1799" kern="1200">
          <a:solidFill>
            <a:schemeClr val="tx1"/>
          </a:solidFill>
          <a:latin typeface="+mn-lt"/>
          <a:ea typeface="+mn-ea"/>
          <a:cs typeface="+mn-cs"/>
        </a:defRPr>
      </a:lvl2pPr>
      <a:lvl3pPr marL="913954" algn="l" defTabSz="913954" rtl="0" eaLnBrk="1" latinLnBrk="0" hangingPunct="1">
        <a:defRPr sz="1799" kern="1200">
          <a:solidFill>
            <a:schemeClr val="tx1"/>
          </a:solidFill>
          <a:latin typeface="+mn-lt"/>
          <a:ea typeface="+mn-ea"/>
          <a:cs typeface="+mn-cs"/>
        </a:defRPr>
      </a:lvl3pPr>
      <a:lvl4pPr marL="1370931" algn="l" defTabSz="913954" rtl="0" eaLnBrk="1" latinLnBrk="0" hangingPunct="1">
        <a:defRPr sz="1799" kern="1200">
          <a:solidFill>
            <a:schemeClr val="tx1"/>
          </a:solidFill>
          <a:latin typeface="+mn-lt"/>
          <a:ea typeface="+mn-ea"/>
          <a:cs typeface="+mn-cs"/>
        </a:defRPr>
      </a:lvl4pPr>
      <a:lvl5pPr marL="1827908" algn="l" defTabSz="913954" rtl="0" eaLnBrk="1" latinLnBrk="0" hangingPunct="1">
        <a:defRPr sz="1799" kern="1200">
          <a:solidFill>
            <a:schemeClr val="tx1"/>
          </a:solidFill>
          <a:latin typeface="+mn-lt"/>
          <a:ea typeface="+mn-ea"/>
          <a:cs typeface="+mn-cs"/>
        </a:defRPr>
      </a:lvl5pPr>
      <a:lvl6pPr marL="2284884" algn="l" defTabSz="913954" rtl="0" eaLnBrk="1" latinLnBrk="0" hangingPunct="1">
        <a:defRPr sz="1799" kern="1200">
          <a:solidFill>
            <a:schemeClr val="tx1"/>
          </a:solidFill>
          <a:latin typeface="+mn-lt"/>
          <a:ea typeface="+mn-ea"/>
          <a:cs typeface="+mn-cs"/>
        </a:defRPr>
      </a:lvl6pPr>
      <a:lvl7pPr marL="2741861" algn="l" defTabSz="913954" rtl="0" eaLnBrk="1" latinLnBrk="0" hangingPunct="1">
        <a:defRPr sz="1799" kern="1200">
          <a:solidFill>
            <a:schemeClr val="tx1"/>
          </a:solidFill>
          <a:latin typeface="+mn-lt"/>
          <a:ea typeface="+mn-ea"/>
          <a:cs typeface="+mn-cs"/>
        </a:defRPr>
      </a:lvl7pPr>
      <a:lvl8pPr marL="3198838" algn="l" defTabSz="913954" rtl="0" eaLnBrk="1" latinLnBrk="0" hangingPunct="1">
        <a:defRPr sz="1799" kern="1200">
          <a:solidFill>
            <a:schemeClr val="tx1"/>
          </a:solidFill>
          <a:latin typeface="+mn-lt"/>
          <a:ea typeface="+mn-ea"/>
          <a:cs typeface="+mn-cs"/>
        </a:defRPr>
      </a:lvl8pPr>
      <a:lvl9pPr marL="3655815" algn="l" defTabSz="91395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94.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4.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94.xm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1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4.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notesSlide" Target="../notesSlides/notesSlide15.xml"/><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3" Type="http://schemas.openxmlformats.org/officeDocument/2006/relationships/image" Target="../media/image38.tmp"/><Relationship Id="rId2" Type="http://schemas.openxmlformats.org/officeDocument/2006/relationships/notesSlide" Target="../notesSlides/notesSlide16.xml"/><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112.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94.xml"/><Relationship Id="rId5" Type="http://schemas.openxmlformats.org/officeDocument/2006/relationships/image" Target="../media/image41.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3.xml"/><Relationship Id="rId1" Type="http://schemas.openxmlformats.org/officeDocument/2006/relationships/slideLayout" Target="../slideLayouts/slideLayout112.xml"/></Relationships>
</file>

<file path=ppt/slides/_rels/slide32.xml.rels><?xml version="1.0" encoding="UTF-8" standalone="yes"?>
<Relationships xmlns="http://schemas.openxmlformats.org/package/2006/relationships"><Relationship Id="rId3" Type="http://schemas.openxmlformats.org/officeDocument/2006/relationships/image" Target="../media/image44.tmp"/><Relationship Id="rId2" Type="http://schemas.openxmlformats.org/officeDocument/2006/relationships/notesSlide" Target="../notesSlides/notesSlide24.xml"/><Relationship Id="rId1" Type="http://schemas.openxmlformats.org/officeDocument/2006/relationships/slideLayout" Target="../slideLayouts/slideLayout9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tmp"/></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94.xml"/><Relationship Id="rId5" Type="http://schemas.openxmlformats.org/officeDocument/2006/relationships/image" Target="../media/image50.tmp"/><Relationship Id="rId4" Type="http://schemas.openxmlformats.org/officeDocument/2006/relationships/image" Target="../media/image49.tm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1.xml"/></Relationships>
</file>

<file path=ppt/slides/_rels/slide3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15.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notesSlide" Target="../notesSlides/notesSlide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Layout" Target="../slideLayouts/slideLayout107.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07.xml"/><Relationship Id="rId4" Type="http://schemas.openxmlformats.org/officeDocument/2006/relationships/image" Target="../media/image18.emf"/></Relationships>
</file>

<file path=ppt/slides/_rels/slide6.xml.rels><?xml version="1.0" encoding="UTF-8" standalone="yes"?>
<Relationships xmlns="http://schemas.openxmlformats.org/package/2006/relationships"><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9" Type="http://schemas.openxmlformats.org/officeDocument/2006/relationships/tags" Target="../tags/tag61.xml"/><Relationship Id="rId3" Type="http://schemas.openxmlformats.org/officeDocument/2006/relationships/tags" Target="../tags/tag25.xml"/><Relationship Id="rId21" Type="http://schemas.openxmlformats.org/officeDocument/2006/relationships/tags" Target="../tags/tag43.xml"/><Relationship Id="rId34" Type="http://schemas.openxmlformats.org/officeDocument/2006/relationships/tags" Target="../tags/tag56.xml"/><Relationship Id="rId42" Type="http://schemas.openxmlformats.org/officeDocument/2006/relationships/tags" Target="../tags/tag64.xml"/><Relationship Id="rId47" Type="http://schemas.openxmlformats.org/officeDocument/2006/relationships/tags" Target="../tags/tag69.xml"/><Relationship Id="rId50" Type="http://schemas.openxmlformats.org/officeDocument/2006/relationships/tags" Target="../tags/tag7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 Id="rId46" Type="http://schemas.openxmlformats.org/officeDocument/2006/relationships/tags" Target="../tags/tag68.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tags" Target="../tags/tag51.xml"/><Relationship Id="rId41" Type="http://schemas.openxmlformats.org/officeDocument/2006/relationships/tags" Target="../tags/tag63.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tags" Target="../tags/tag62.xml"/><Relationship Id="rId45" Type="http://schemas.openxmlformats.org/officeDocument/2006/relationships/tags" Target="../tags/tag67.xml"/><Relationship Id="rId53" Type="http://schemas.openxmlformats.org/officeDocument/2006/relationships/notesSlide" Target="../notesSlides/notesSlide6.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49" Type="http://schemas.openxmlformats.org/officeDocument/2006/relationships/tags" Target="../tags/tag71.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tags" Target="../tags/tag53.xml"/><Relationship Id="rId44" Type="http://schemas.openxmlformats.org/officeDocument/2006/relationships/tags" Target="../tags/tag66.xml"/><Relationship Id="rId52" Type="http://schemas.openxmlformats.org/officeDocument/2006/relationships/slideLayout" Target="../slideLayouts/slideLayout94.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43" Type="http://schemas.openxmlformats.org/officeDocument/2006/relationships/tags" Target="../tags/tag65.xml"/><Relationship Id="rId48" Type="http://schemas.openxmlformats.org/officeDocument/2006/relationships/tags" Target="../tags/tag70.xml"/><Relationship Id="rId8" Type="http://schemas.openxmlformats.org/officeDocument/2006/relationships/tags" Target="../tags/tag30.xml"/><Relationship Id="rId51" Type="http://schemas.openxmlformats.org/officeDocument/2006/relationships/tags" Target="../tags/tag7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94.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images.trvl-media.com/hotels/6000000/5540000/5538400/5538338/5538338_3_z.jpg">
            <a:extLst>
              <a:ext uri="{FF2B5EF4-FFF2-40B4-BE49-F238E27FC236}">
                <a16:creationId xmlns:a16="http://schemas.microsoft.com/office/drawing/2014/main" id="{1E40C2D2-58C8-40A4-AD6A-AE03A34271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988" y="-979551"/>
            <a:ext cx="12877800" cy="856373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24">
            <a:extLst>
              <a:ext uri="{FF2B5EF4-FFF2-40B4-BE49-F238E27FC236}">
                <a16:creationId xmlns:a16="http://schemas.microsoft.com/office/drawing/2014/main" id="{718EBFD9-F932-4A68-A4C1-7F980783FF74}"/>
              </a:ext>
            </a:extLst>
          </p:cNvPr>
          <p:cNvSpPr txBox="1">
            <a:spLocks/>
          </p:cNvSpPr>
          <p:nvPr/>
        </p:nvSpPr>
        <p:spPr>
          <a:xfrm>
            <a:off x="-56202" y="4999523"/>
            <a:ext cx="12431473" cy="1995002"/>
          </a:xfrm>
          <a:prstGeom prst="rect">
            <a:avLst/>
          </a:prstGeom>
          <a:gradFill>
            <a:gsLst>
              <a:gs pos="0">
                <a:schemeClr val="tx1">
                  <a:alpha val="0"/>
                </a:schemeClr>
              </a:gs>
              <a:gs pos="31000">
                <a:schemeClr val="tx1">
                  <a:alpha val="70000"/>
                </a:schemeClr>
              </a:gs>
              <a:gs pos="100000">
                <a:schemeClr val="tx1">
                  <a:alpha val="80000"/>
                </a:schemeClr>
              </a:gs>
            </a:gsLst>
            <a:lin ang="5400000" scaled="1"/>
          </a:gradFill>
        </p:spPr>
        <p:txBody>
          <a:bodyPr rot="0" spcFirstLastPara="0" vertOverflow="overflow" horzOverflow="overflow" vert="horz" wrap="square" lIns="293733" tIns="73433" rIns="293733" bIns="73433" numCol="1" spcCol="0" rtlCol="0" fromWordArt="0" anchor="ctr" anchorCtr="0" forceAA="0" compatLnSpc="1">
            <a:prstTxWarp prst="textNoShape">
              <a:avLst/>
            </a:prstTxWarp>
            <a:noAutofit/>
          </a:bodyPr>
          <a:lstStyle>
            <a:lvl1pPr algn="l" defTabSz="914171" rtl="0" eaLnBrk="1" latinLnBrk="0" hangingPunct="1">
              <a:lnSpc>
                <a:spcPts val="4266"/>
              </a:lnSpc>
              <a:spcBef>
                <a:spcPct val="0"/>
              </a:spcBef>
              <a:buNone/>
              <a:defRPr sz="3732" b="1" kern="1200">
                <a:solidFill>
                  <a:schemeClr val="bg1"/>
                </a:solidFill>
                <a:latin typeface="+mj-lt"/>
                <a:ea typeface="+mj-ea"/>
                <a:cs typeface="+mj-cs"/>
              </a:defRPr>
            </a:lvl1pPr>
          </a:lstStyle>
          <a:p>
            <a:r>
              <a:rPr lang="en-US" sz="6119" dirty="0"/>
              <a:t>GDPR </a:t>
            </a:r>
            <a:r>
              <a:rPr lang="en-US" sz="6119" dirty="0" err="1"/>
              <a:t>en</a:t>
            </a:r>
            <a:r>
              <a:rPr lang="en-US" sz="6119" dirty="0"/>
              <a:t> Microsoft</a:t>
            </a:r>
            <a:br>
              <a:rPr lang="en-US" sz="6119" dirty="0"/>
            </a:br>
            <a:r>
              <a:rPr lang="en-US" sz="3264" dirty="0"/>
              <a:t>Jurgen van den Broek</a:t>
            </a:r>
          </a:p>
          <a:p>
            <a:r>
              <a:rPr lang="en-US" sz="3264" dirty="0"/>
              <a:t>Albert Hoitingh</a:t>
            </a:r>
          </a:p>
        </p:txBody>
      </p:sp>
      <p:sp>
        <p:nvSpPr>
          <p:cNvPr id="4" name="Rechthoek 3">
            <a:extLst>
              <a:ext uri="{FF2B5EF4-FFF2-40B4-BE49-F238E27FC236}">
                <a16:creationId xmlns:a16="http://schemas.microsoft.com/office/drawing/2014/main" id="{88C3CE54-E990-4C7D-A5E7-EF13E9C55572}"/>
              </a:ext>
            </a:extLst>
          </p:cNvPr>
          <p:cNvSpPr/>
          <p:nvPr/>
        </p:nvSpPr>
        <p:spPr>
          <a:xfrm>
            <a:off x="7618412" y="228600"/>
            <a:ext cx="3965573" cy="430887"/>
          </a:xfrm>
          <a:prstGeom prst="rect">
            <a:avLst/>
          </a:prstGeom>
        </p:spPr>
        <p:txBody>
          <a:bodyPr wrap="none">
            <a:spAutoFit/>
          </a:bodyPr>
          <a:lstStyle/>
          <a:p>
            <a:r>
              <a:rPr lang="nl-NL" dirty="0" err="1">
                <a:solidFill>
                  <a:srgbClr val="872508"/>
                </a:solidFill>
                <a:latin typeface="Segoe UI" panose="020B0502040204020203" pitchFamily="34" charset="0"/>
              </a:rPr>
              <a:t>Gouvieux</a:t>
            </a:r>
            <a:r>
              <a:rPr lang="nl-NL" dirty="0">
                <a:solidFill>
                  <a:srgbClr val="872508"/>
                </a:solidFill>
                <a:latin typeface="Segoe UI" panose="020B0502040204020203" pitchFamily="34" charset="0"/>
              </a:rPr>
              <a:t> Winter Edition 2018</a:t>
            </a:r>
            <a:endParaRPr lang="nl-NL" dirty="0"/>
          </a:p>
        </p:txBody>
      </p:sp>
    </p:spTree>
    <p:extLst>
      <p:ext uri="{BB962C8B-B14F-4D97-AF65-F5344CB8AC3E}">
        <p14:creationId xmlns:p14="http://schemas.microsoft.com/office/powerpoint/2010/main" val="334155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F3285-6713-4C21-AC3D-624A3FBD63FD}"/>
              </a:ext>
            </a:extLst>
          </p:cNvPr>
          <p:cNvSpPr>
            <a:spLocks noGrp="1"/>
          </p:cNvSpPr>
          <p:nvPr>
            <p:ph type="title"/>
          </p:nvPr>
        </p:nvSpPr>
        <p:spPr>
          <a:xfrm>
            <a:off x="455881" y="457200"/>
            <a:ext cx="11277063" cy="914400"/>
          </a:xfrm>
        </p:spPr>
        <p:txBody>
          <a:bodyPr/>
          <a:lstStyle/>
          <a:p>
            <a:r>
              <a:rPr lang="en-GB" dirty="0"/>
              <a:t>Identity</a:t>
            </a:r>
            <a:endParaRPr lang="en-US" dirty="0"/>
          </a:p>
        </p:txBody>
      </p:sp>
      <p:sp>
        <p:nvSpPr>
          <p:cNvPr id="4" name="Slide Number Placeholder 3">
            <a:extLst>
              <a:ext uri="{FF2B5EF4-FFF2-40B4-BE49-F238E27FC236}">
                <a16:creationId xmlns:a16="http://schemas.microsoft.com/office/drawing/2014/main" id="{C84E9873-0C46-4D79-9A44-965C3CFACD78}"/>
              </a:ext>
            </a:extLst>
          </p:cNvPr>
          <p:cNvSpPr>
            <a:spLocks noGrp="1"/>
          </p:cNvSpPr>
          <p:nvPr>
            <p:ph type="sldNum" sz="quarter" idx="10"/>
          </p:nvPr>
        </p:nvSpPr>
        <p:spPr/>
        <p:txBody>
          <a:bodyPr/>
          <a:lstStyle/>
          <a:p>
            <a:fld id="{4EACBA47-91FC-4F0F-98EF-AF8B449ABA17}" type="slidenum">
              <a:rPr lang="nl-NL" noProof="0" smtClean="0"/>
              <a:pPr/>
              <a:t>10</a:t>
            </a:fld>
            <a:endParaRPr lang="nl-NL" noProof="0"/>
          </a:p>
        </p:txBody>
      </p:sp>
      <p:sp>
        <p:nvSpPr>
          <p:cNvPr id="5" name="Footer Placeholder 4">
            <a:extLst>
              <a:ext uri="{FF2B5EF4-FFF2-40B4-BE49-F238E27FC236}">
                <a16:creationId xmlns:a16="http://schemas.microsoft.com/office/drawing/2014/main" id="{3FDC572F-8473-4525-BB96-D8FFCF41294B}"/>
              </a:ext>
            </a:extLst>
          </p:cNvPr>
          <p:cNvSpPr>
            <a:spLocks noGrp="1"/>
          </p:cNvSpPr>
          <p:nvPr>
            <p:ph type="ftr" sz="quarter" idx="11"/>
          </p:nvPr>
        </p:nvSpPr>
        <p:spPr/>
        <p:txBody>
          <a:bodyPr/>
          <a:lstStyle/>
          <a:p>
            <a:r>
              <a:rPr lang="nl-NL" noProof="0"/>
              <a:t>Sogeti PowerPoint Referentie 2014</a:t>
            </a:r>
          </a:p>
        </p:txBody>
      </p:sp>
      <p:pic>
        <p:nvPicPr>
          <p:cNvPr id="104" name="Picture 103">
            <a:extLst>
              <a:ext uri="{FF2B5EF4-FFF2-40B4-BE49-F238E27FC236}">
                <a16:creationId xmlns:a16="http://schemas.microsoft.com/office/drawing/2014/main" id="{E49E5178-95D5-4BDF-9F75-0E3A4AEEED27}"/>
              </a:ext>
            </a:extLst>
          </p:cNvPr>
          <p:cNvPicPr>
            <a:picLocks noChangeAspect="1"/>
          </p:cNvPicPr>
          <p:nvPr/>
        </p:nvPicPr>
        <p:blipFill>
          <a:blip r:embed="rId2"/>
          <a:stretch>
            <a:fillRect/>
          </a:stretch>
        </p:blipFill>
        <p:spPr>
          <a:xfrm>
            <a:off x="2186745" y="1447800"/>
            <a:ext cx="7815334" cy="4476298"/>
          </a:xfrm>
          <a:prstGeom prst="rect">
            <a:avLst/>
          </a:prstGeom>
        </p:spPr>
      </p:pic>
    </p:spTree>
    <p:extLst>
      <p:ext uri="{BB962C8B-B14F-4D97-AF65-F5344CB8AC3E}">
        <p14:creationId xmlns:p14="http://schemas.microsoft.com/office/powerpoint/2010/main" val="293666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0112A-E70D-483B-AD63-BD128063F772}"/>
              </a:ext>
            </a:extLst>
          </p:cNvPr>
          <p:cNvSpPr>
            <a:spLocks noGrp="1"/>
          </p:cNvSpPr>
          <p:nvPr>
            <p:ph type="title"/>
          </p:nvPr>
        </p:nvSpPr>
        <p:spPr/>
        <p:txBody>
          <a:bodyPr/>
          <a:lstStyle/>
          <a:p>
            <a:r>
              <a:rPr lang="en-GB" dirty="0"/>
              <a:t>Identity Protection</a:t>
            </a:r>
            <a:endParaRPr lang="en-US" dirty="0"/>
          </a:p>
        </p:txBody>
      </p:sp>
      <p:sp>
        <p:nvSpPr>
          <p:cNvPr id="4" name="Slide Number Placeholder 3">
            <a:extLst>
              <a:ext uri="{FF2B5EF4-FFF2-40B4-BE49-F238E27FC236}">
                <a16:creationId xmlns:a16="http://schemas.microsoft.com/office/drawing/2014/main" id="{D0132429-44B3-4764-A61F-32AF1F4AEAF9}"/>
              </a:ext>
            </a:extLst>
          </p:cNvPr>
          <p:cNvSpPr>
            <a:spLocks noGrp="1"/>
          </p:cNvSpPr>
          <p:nvPr>
            <p:ph type="sldNum" sz="quarter" idx="10"/>
          </p:nvPr>
        </p:nvSpPr>
        <p:spPr/>
        <p:txBody>
          <a:bodyPr/>
          <a:lstStyle/>
          <a:p>
            <a:fld id="{4EACBA47-91FC-4F0F-98EF-AF8B449ABA17}" type="slidenum">
              <a:rPr lang="nl-NL" noProof="0" smtClean="0"/>
              <a:pPr/>
              <a:t>11</a:t>
            </a:fld>
            <a:endParaRPr lang="nl-NL" noProof="0"/>
          </a:p>
        </p:txBody>
      </p:sp>
      <p:sp>
        <p:nvSpPr>
          <p:cNvPr id="5" name="Footer Placeholder 4">
            <a:extLst>
              <a:ext uri="{FF2B5EF4-FFF2-40B4-BE49-F238E27FC236}">
                <a16:creationId xmlns:a16="http://schemas.microsoft.com/office/drawing/2014/main" id="{50073E33-6BB7-4E63-8E5D-70B653A86E8B}"/>
              </a:ext>
            </a:extLst>
          </p:cNvPr>
          <p:cNvSpPr>
            <a:spLocks noGrp="1"/>
          </p:cNvSpPr>
          <p:nvPr>
            <p:ph type="ftr" sz="quarter" idx="11"/>
          </p:nvPr>
        </p:nvSpPr>
        <p:spPr/>
        <p:txBody>
          <a:bodyPr/>
          <a:lstStyle/>
          <a:p>
            <a:r>
              <a:rPr lang="nl-NL" noProof="0"/>
              <a:t>Sogeti PowerPoint Referentie 2014</a:t>
            </a:r>
          </a:p>
        </p:txBody>
      </p:sp>
      <p:pic>
        <p:nvPicPr>
          <p:cNvPr id="6" name="Picture 5" descr="azure-ad-identity-protection-microsoft">
            <a:extLst>
              <a:ext uri="{FF2B5EF4-FFF2-40B4-BE49-F238E27FC236}">
                <a16:creationId xmlns:a16="http://schemas.microsoft.com/office/drawing/2014/main" id="{4CF6FC51-B523-4D52-AC85-0501A3AF41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8150" y="1524000"/>
            <a:ext cx="5105400" cy="5146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91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AACF65BE-0974-4C66-A4B0-8078CA6F5E51}"/>
              </a:ext>
            </a:extLst>
          </p:cNvPr>
          <p:cNvSpPr>
            <a:spLocks noGrp="1"/>
          </p:cNvSpPr>
          <p:nvPr>
            <p:ph type="title"/>
          </p:nvPr>
        </p:nvSpPr>
        <p:spPr/>
        <p:txBody>
          <a:bodyPr/>
          <a:lstStyle/>
          <a:p>
            <a:r>
              <a:rPr lang="nl-NL" dirty="0"/>
              <a:t>Demo</a:t>
            </a:r>
          </a:p>
        </p:txBody>
      </p:sp>
      <p:sp>
        <p:nvSpPr>
          <p:cNvPr id="4" name="Tijdelijke aanduiding voor dianummer 3">
            <a:extLst>
              <a:ext uri="{FF2B5EF4-FFF2-40B4-BE49-F238E27FC236}">
                <a16:creationId xmlns:a16="http://schemas.microsoft.com/office/drawing/2014/main" id="{EB15068E-6324-471E-A95F-DE21D5C48CE2}"/>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12</a:t>
            </a:fld>
            <a:endParaRPr lang="nl-NL" noProof="0"/>
          </a:p>
        </p:txBody>
      </p:sp>
      <p:pic>
        <p:nvPicPr>
          <p:cNvPr id="10" name="Picture 2" descr="https://images.trvl-media.com/hotels/6000000/5540000/5538400/5538338/5538338_3_z.jpg">
            <a:extLst>
              <a:ext uri="{FF2B5EF4-FFF2-40B4-BE49-F238E27FC236}">
                <a16:creationId xmlns:a16="http://schemas.microsoft.com/office/drawing/2014/main" id="{F593EA67-BA71-487B-9422-F99A583DCB69}"/>
              </a:ext>
            </a:extLst>
          </p:cNvPr>
          <p:cNvPicPr>
            <a:picLocks noGrp="1" noChangeAspect="1" noChangeArrowheads="1"/>
          </p:cNvPicPr>
          <p:nvPr>
            <p:ph type="chart" sz="quarter" idx="4294967295"/>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9112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C7D0B-999E-4658-A05B-48B423CBFBF1}"/>
              </a:ext>
            </a:extLst>
          </p:cNvPr>
          <p:cNvSpPr>
            <a:spLocks noGrp="1"/>
          </p:cNvSpPr>
          <p:nvPr>
            <p:ph type="title"/>
          </p:nvPr>
        </p:nvSpPr>
        <p:spPr/>
        <p:txBody>
          <a:bodyPr/>
          <a:lstStyle/>
          <a:p>
            <a:r>
              <a:rPr lang="en-GB" dirty="0"/>
              <a:t>Device</a:t>
            </a:r>
            <a:endParaRPr lang="en-US" dirty="0"/>
          </a:p>
        </p:txBody>
      </p:sp>
      <p:sp>
        <p:nvSpPr>
          <p:cNvPr id="4" name="Slide Number Placeholder 3">
            <a:extLst>
              <a:ext uri="{FF2B5EF4-FFF2-40B4-BE49-F238E27FC236}">
                <a16:creationId xmlns:a16="http://schemas.microsoft.com/office/drawing/2014/main" id="{71896D82-1E57-406D-BAAF-5514B738F145}"/>
              </a:ext>
            </a:extLst>
          </p:cNvPr>
          <p:cNvSpPr>
            <a:spLocks noGrp="1"/>
          </p:cNvSpPr>
          <p:nvPr>
            <p:ph type="sldNum" sz="quarter" idx="10"/>
          </p:nvPr>
        </p:nvSpPr>
        <p:spPr/>
        <p:txBody>
          <a:bodyPr/>
          <a:lstStyle/>
          <a:p>
            <a:fld id="{4EACBA47-91FC-4F0F-98EF-AF8B449ABA17}" type="slidenum">
              <a:rPr lang="nl-NL" noProof="0" smtClean="0"/>
              <a:pPr/>
              <a:t>13</a:t>
            </a:fld>
            <a:endParaRPr lang="nl-NL" noProof="0"/>
          </a:p>
        </p:txBody>
      </p:sp>
      <p:sp>
        <p:nvSpPr>
          <p:cNvPr id="5" name="Footer Placeholder 4">
            <a:extLst>
              <a:ext uri="{FF2B5EF4-FFF2-40B4-BE49-F238E27FC236}">
                <a16:creationId xmlns:a16="http://schemas.microsoft.com/office/drawing/2014/main" id="{6EFD57D3-698E-4A3C-8C78-A4B7293E2A3C}"/>
              </a:ext>
            </a:extLst>
          </p:cNvPr>
          <p:cNvSpPr>
            <a:spLocks noGrp="1"/>
          </p:cNvSpPr>
          <p:nvPr>
            <p:ph type="ftr" sz="quarter" idx="11"/>
          </p:nvPr>
        </p:nvSpPr>
        <p:spPr/>
        <p:txBody>
          <a:bodyPr/>
          <a:lstStyle/>
          <a:p>
            <a:r>
              <a:rPr lang="nl-NL" noProof="0"/>
              <a:t>Sogeti PowerPoint Referentie 2014</a:t>
            </a:r>
          </a:p>
        </p:txBody>
      </p:sp>
      <p:pic>
        <p:nvPicPr>
          <p:cNvPr id="57" name="Picture 56">
            <a:extLst>
              <a:ext uri="{FF2B5EF4-FFF2-40B4-BE49-F238E27FC236}">
                <a16:creationId xmlns:a16="http://schemas.microsoft.com/office/drawing/2014/main" id="{633FB8FA-4E14-4991-8F7E-508127CE0C05}"/>
              </a:ext>
            </a:extLst>
          </p:cNvPr>
          <p:cNvPicPr>
            <a:picLocks noChangeAspect="1"/>
          </p:cNvPicPr>
          <p:nvPr/>
        </p:nvPicPr>
        <p:blipFill>
          <a:blip r:embed="rId2"/>
          <a:stretch>
            <a:fillRect/>
          </a:stretch>
        </p:blipFill>
        <p:spPr>
          <a:xfrm>
            <a:off x="485000" y="1524000"/>
            <a:ext cx="4755420" cy="4138676"/>
          </a:xfrm>
          <a:prstGeom prst="rect">
            <a:avLst/>
          </a:prstGeom>
        </p:spPr>
      </p:pic>
      <p:pic>
        <p:nvPicPr>
          <p:cNvPr id="58" name="Picture 57">
            <a:extLst>
              <a:ext uri="{FF2B5EF4-FFF2-40B4-BE49-F238E27FC236}">
                <a16:creationId xmlns:a16="http://schemas.microsoft.com/office/drawing/2014/main" id="{090D9D59-E254-482D-9253-433270207C4F}"/>
              </a:ext>
            </a:extLst>
          </p:cNvPr>
          <p:cNvPicPr>
            <a:picLocks noChangeAspect="1"/>
          </p:cNvPicPr>
          <p:nvPr/>
        </p:nvPicPr>
        <p:blipFill>
          <a:blip r:embed="rId3"/>
          <a:stretch>
            <a:fillRect/>
          </a:stretch>
        </p:blipFill>
        <p:spPr>
          <a:xfrm>
            <a:off x="5537112" y="1512806"/>
            <a:ext cx="6166713" cy="4144273"/>
          </a:xfrm>
          <a:prstGeom prst="rect">
            <a:avLst/>
          </a:prstGeom>
        </p:spPr>
      </p:pic>
    </p:spTree>
    <p:extLst>
      <p:ext uri="{BB962C8B-B14F-4D97-AF65-F5344CB8AC3E}">
        <p14:creationId xmlns:p14="http://schemas.microsoft.com/office/powerpoint/2010/main" val="8712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7935A-A745-483B-8730-B7B9D21029EF}"/>
              </a:ext>
            </a:extLst>
          </p:cNvPr>
          <p:cNvSpPr>
            <a:spLocks noGrp="1"/>
          </p:cNvSpPr>
          <p:nvPr>
            <p:ph type="title"/>
          </p:nvPr>
        </p:nvSpPr>
        <p:spPr/>
        <p:txBody>
          <a:bodyPr/>
          <a:lstStyle/>
          <a:p>
            <a:r>
              <a:rPr lang="en-GB" dirty="0"/>
              <a:t>Device - Intune</a:t>
            </a:r>
            <a:endParaRPr lang="en-US" dirty="0"/>
          </a:p>
        </p:txBody>
      </p:sp>
      <p:sp>
        <p:nvSpPr>
          <p:cNvPr id="4" name="Slide Number Placeholder 3">
            <a:extLst>
              <a:ext uri="{FF2B5EF4-FFF2-40B4-BE49-F238E27FC236}">
                <a16:creationId xmlns:a16="http://schemas.microsoft.com/office/drawing/2014/main" id="{382A55EC-29D7-4114-A99D-D07B9D802957}"/>
              </a:ext>
            </a:extLst>
          </p:cNvPr>
          <p:cNvSpPr>
            <a:spLocks noGrp="1"/>
          </p:cNvSpPr>
          <p:nvPr>
            <p:ph type="sldNum" sz="quarter" idx="10"/>
          </p:nvPr>
        </p:nvSpPr>
        <p:spPr/>
        <p:txBody>
          <a:bodyPr/>
          <a:lstStyle/>
          <a:p>
            <a:fld id="{4EACBA47-91FC-4F0F-98EF-AF8B449ABA17}" type="slidenum">
              <a:rPr lang="nl-NL" noProof="0" smtClean="0"/>
              <a:pPr/>
              <a:t>14</a:t>
            </a:fld>
            <a:endParaRPr lang="nl-NL" noProof="0"/>
          </a:p>
        </p:txBody>
      </p:sp>
      <p:sp>
        <p:nvSpPr>
          <p:cNvPr id="5" name="Footer Placeholder 4">
            <a:extLst>
              <a:ext uri="{FF2B5EF4-FFF2-40B4-BE49-F238E27FC236}">
                <a16:creationId xmlns:a16="http://schemas.microsoft.com/office/drawing/2014/main" id="{3DFBD507-ECC1-4271-8357-25E3298ABB97}"/>
              </a:ext>
            </a:extLst>
          </p:cNvPr>
          <p:cNvSpPr>
            <a:spLocks noGrp="1"/>
          </p:cNvSpPr>
          <p:nvPr>
            <p:ph type="ftr" sz="quarter" idx="11"/>
          </p:nvPr>
        </p:nvSpPr>
        <p:spPr/>
        <p:txBody>
          <a:bodyPr/>
          <a:lstStyle/>
          <a:p>
            <a:r>
              <a:rPr lang="nl-NL" noProof="0"/>
              <a:t>Sogeti PowerPoint Referentie 2014</a:t>
            </a:r>
          </a:p>
        </p:txBody>
      </p:sp>
      <p:pic>
        <p:nvPicPr>
          <p:cNvPr id="6" name="Picture 5">
            <a:extLst>
              <a:ext uri="{FF2B5EF4-FFF2-40B4-BE49-F238E27FC236}">
                <a16:creationId xmlns:a16="http://schemas.microsoft.com/office/drawing/2014/main" id="{A80F5CBC-1FB7-4BB6-9F5E-62BA4F78B387}"/>
              </a:ext>
            </a:extLst>
          </p:cNvPr>
          <p:cNvPicPr>
            <a:picLocks noChangeAspect="1"/>
          </p:cNvPicPr>
          <p:nvPr/>
        </p:nvPicPr>
        <p:blipFill>
          <a:blip r:embed="rId2"/>
          <a:stretch>
            <a:fillRect/>
          </a:stretch>
        </p:blipFill>
        <p:spPr>
          <a:xfrm>
            <a:off x="1979612" y="1461617"/>
            <a:ext cx="8020084" cy="4938899"/>
          </a:xfrm>
          <a:prstGeom prst="rect">
            <a:avLst/>
          </a:prstGeom>
        </p:spPr>
      </p:pic>
    </p:spTree>
    <p:extLst>
      <p:ext uri="{BB962C8B-B14F-4D97-AF65-F5344CB8AC3E}">
        <p14:creationId xmlns:p14="http://schemas.microsoft.com/office/powerpoint/2010/main" val="220565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17C321-1426-488E-B7ED-540AC5158C89}"/>
              </a:ext>
            </a:extLst>
          </p:cNvPr>
          <p:cNvSpPr>
            <a:spLocks noGrp="1"/>
          </p:cNvSpPr>
          <p:nvPr>
            <p:ph type="title"/>
          </p:nvPr>
        </p:nvSpPr>
        <p:spPr/>
        <p:txBody>
          <a:bodyPr/>
          <a:lstStyle/>
          <a:p>
            <a:r>
              <a:rPr lang="nl-NL" dirty="0"/>
              <a:t>Device &amp; data</a:t>
            </a:r>
          </a:p>
        </p:txBody>
      </p:sp>
      <p:sp>
        <p:nvSpPr>
          <p:cNvPr id="4" name="Tijdelijke aanduiding voor dianummer 3">
            <a:extLst>
              <a:ext uri="{FF2B5EF4-FFF2-40B4-BE49-F238E27FC236}">
                <a16:creationId xmlns:a16="http://schemas.microsoft.com/office/drawing/2014/main" id="{219105D3-EE42-4AEF-9325-88F5F2F40A2B}"/>
              </a:ext>
            </a:extLst>
          </p:cNvPr>
          <p:cNvSpPr>
            <a:spLocks noGrp="1"/>
          </p:cNvSpPr>
          <p:nvPr>
            <p:ph type="sldNum" sz="quarter" idx="10"/>
          </p:nvPr>
        </p:nvSpPr>
        <p:spPr/>
        <p:txBody>
          <a:bodyPr/>
          <a:lstStyle/>
          <a:p>
            <a:fld id="{4EACBA47-91FC-4F0F-98EF-AF8B449ABA17}" type="slidenum">
              <a:rPr lang="nl-NL" noProof="0" smtClean="0"/>
              <a:pPr/>
              <a:t>15</a:t>
            </a:fld>
            <a:endParaRPr lang="nl-NL" noProof="0"/>
          </a:p>
        </p:txBody>
      </p:sp>
      <p:sp>
        <p:nvSpPr>
          <p:cNvPr id="5" name="Tijdelijke aanduiding voor voettekst 4">
            <a:extLst>
              <a:ext uri="{FF2B5EF4-FFF2-40B4-BE49-F238E27FC236}">
                <a16:creationId xmlns:a16="http://schemas.microsoft.com/office/drawing/2014/main" id="{8F5A826F-56EE-415C-8829-AAFB570E1658}"/>
              </a:ext>
            </a:extLst>
          </p:cNvPr>
          <p:cNvSpPr>
            <a:spLocks noGrp="1"/>
          </p:cNvSpPr>
          <p:nvPr>
            <p:ph type="ftr" sz="quarter" idx="11"/>
          </p:nvPr>
        </p:nvSpPr>
        <p:spPr/>
        <p:txBody>
          <a:bodyPr/>
          <a:lstStyle/>
          <a:p>
            <a:r>
              <a:rPr lang="nl-NL" noProof="0"/>
              <a:t>Sogeti PowerPoint Referentie 2014</a:t>
            </a:r>
          </a:p>
        </p:txBody>
      </p:sp>
      <p:pic>
        <p:nvPicPr>
          <p:cNvPr id="6" name="Picture 5" descr="https://docs.microsoft.com/en-us/intune/media/apps-with-protection-policies.png">
            <a:extLst>
              <a:ext uri="{FF2B5EF4-FFF2-40B4-BE49-F238E27FC236}">
                <a16:creationId xmlns:a16="http://schemas.microsoft.com/office/drawing/2014/main" id="{2BEB86DA-49D2-4032-A27D-F7EF785CC6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08921" y="1717690"/>
            <a:ext cx="4629150" cy="41052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00515B6-722F-44CB-AEBF-FDF9F7B75EE3}"/>
              </a:ext>
            </a:extLst>
          </p:cNvPr>
          <p:cNvPicPr>
            <a:picLocks noChangeAspect="1"/>
          </p:cNvPicPr>
          <p:nvPr/>
        </p:nvPicPr>
        <p:blipFill>
          <a:blip r:embed="rId4"/>
          <a:stretch>
            <a:fillRect/>
          </a:stretch>
        </p:blipFill>
        <p:spPr>
          <a:xfrm>
            <a:off x="455881" y="2438400"/>
            <a:ext cx="5572125" cy="2914650"/>
          </a:xfrm>
          <a:prstGeom prst="rect">
            <a:avLst/>
          </a:prstGeom>
        </p:spPr>
      </p:pic>
    </p:spTree>
    <p:extLst>
      <p:ext uri="{BB962C8B-B14F-4D97-AF65-F5344CB8AC3E}">
        <p14:creationId xmlns:p14="http://schemas.microsoft.com/office/powerpoint/2010/main" val="363274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AACF65BE-0974-4C66-A4B0-8078CA6F5E51}"/>
              </a:ext>
            </a:extLst>
          </p:cNvPr>
          <p:cNvSpPr>
            <a:spLocks noGrp="1"/>
          </p:cNvSpPr>
          <p:nvPr>
            <p:ph type="title"/>
          </p:nvPr>
        </p:nvSpPr>
        <p:spPr/>
        <p:txBody>
          <a:bodyPr/>
          <a:lstStyle/>
          <a:p>
            <a:r>
              <a:rPr lang="nl-NL" dirty="0"/>
              <a:t>Demo</a:t>
            </a:r>
          </a:p>
        </p:txBody>
      </p:sp>
      <p:sp>
        <p:nvSpPr>
          <p:cNvPr id="4" name="Tijdelijke aanduiding voor dianummer 3">
            <a:extLst>
              <a:ext uri="{FF2B5EF4-FFF2-40B4-BE49-F238E27FC236}">
                <a16:creationId xmlns:a16="http://schemas.microsoft.com/office/drawing/2014/main" id="{EB15068E-6324-471E-A95F-DE21D5C48CE2}"/>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16</a:t>
            </a:fld>
            <a:endParaRPr lang="nl-NL" noProof="0"/>
          </a:p>
        </p:txBody>
      </p:sp>
      <p:pic>
        <p:nvPicPr>
          <p:cNvPr id="10" name="Picture 2" descr="https://images.trvl-media.com/hotels/6000000/5540000/5538400/5538338/5538338_3_z.jpg">
            <a:extLst>
              <a:ext uri="{FF2B5EF4-FFF2-40B4-BE49-F238E27FC236}">
                <a16:creationId xmlns:a16="http://schemas.microsoft.com/office/drawing/2014/main" id="{F593EA67-BA71-487B-9422-F99A583DCB69}"/>
              </a:ext>
            </a:extLst>
          </p:cNvPr>
          <p:cNvPicPr>
            <a:picLocks noGrp="1" noChangeAspect="1" noChangeArrowheads="1"/>
          </p:cNvPicPr>
          <p:nvPr>
            <p:ph type="chart" sz="quarter" idx="4294967295"/>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154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918BB-D818-44AC-B31F-FF6D3E97BEC2}"/>
              </a:ext>
            </a:extLst>
          </p:cNvPr>
          <p:cNvSpPr>
            <a:spLocks noGrp="1"/>
          </p:cNvSpPr>
          <p:nvPr>
            <p:ph type="title"/>
          </p:nvPr>
        </p:nvSpPr>
        <p:spPr/>
        <p:txBody>
          <a:bodyPr/>
          <a:lstStyle/>
          <a:p>
            <a:r>
              <a:rPr lang="en-GB" dirty="0"/>
              <a:t>Access control</a:t>
            </a:r>
            <a:endParaRPr lang="en-US" dirty="0"/>
          </a:p>
        </p:txBody>
      </p:sp>
      <p:sp>
        <p:nvSpPr>
          <p:cNvPr id="4" name="Slide Number Placeholder 3">
            <a:extLst>
              <a:ext uri="{FF2B5EF4-FFF2-40B4-BE49-F238E27FC236}">
                <a16:creationId xmlns:a16="http://schemas.microsoft.com/office/drawing/2014/main" id="{C0B579D2-2D68-4E0D-B364-57871CC77EB7}"/>
              </a:ext>
            </a:extLst>
          </p:cNvPr>
          <p:cNvSpPr>
            <a:spLocks noGrp="1"/>
          </p:cNvSpPr>
          <p:nvPr>
            <p:ph type="sldNum" sz="quarter" idx="10"/>
          </p:nvPr>
        </p:nvSpPr>
        <p:spPr/>
        <p:txBody>
          <a:bodyPr/>
          <a:lstStyle/>
          <a:p>
            <a:fld id="{4EACBA47-91FC-4F0F-98EF-AF8B449ABA17}" type="slidenum">
              <a:rPr lang="nl-NL" noProof="0" smtClean="0"/>
              <a:pPr/>
              <a:t>17</a:t>
            </a:fld>
            <a:endParaRPr lang="nl-NL" noProof="0"/>
          </a:p>
        </p:txBody>
      </p:sp>
      <p:sp>
        <p:nvSpPr>
          <p:cNvPr id="5" name="Footer Placeholder 4">
            <a:extLst>
              <a:ext uri="{FF2B5EF4-FFF2-40B4-BE49-F238E27FC236}">
                <a16:creationId xmlns:a16="http://schemas.microsoft.com/office/drawing/2014/main" id="{2F171AFE-94E7-4BF5-A2CD-E2A84925C493}"/>
              </a:ext>
            </a:extLst>
          </p:cNvPr>
          <p:cNvSpPr>
            <a:spLocks noGrp="1"/>
          </p:cNvSpPr>
          <p:nvPr>
            <p:ph type="ftr" sz="quarter" idx="11"/>
          </p:nvPr>
        </p:nvSpPr>
        <p:spPr/>
        <p:txBody>
          <a:bodyPr/>
          <a:lstStyle/>
          <a:p>
            <a:r>
              <a:rPr lang="nl-NL" noProof="0"/>
              <a:t>Sogeti PowerPoint Referentie 2014</a:t>
            </a:r>
          </a:p>
        </p:txBody>
      </p:sp>
      <p:pic>
        <p:nvPicPr>
          <p:cNvPr id="238" name="Picture 237">
            <a:extLst>
              <a:ext uri="{FF2B5EF4-FFF2-40B4-BE49-F238E27FC236}">
                <a16:creationId xmlns:a16="http://schemas.microsoft.com/office/drawing/2014/main" id="{DC588165-0290-4687-9A1E-5D157B4EE29F}"/>
              </a:ext>
            </a:extLst>
          </p:cNvPr>
          <p:cNvPicPr>
            <a:picLocks noChangeAspect="1"/>
          </p:cNvPicPr>
          <p:nvPr/>
        </p:nvPicPr>
        <p:blipFill>
          <a:blip r:embed="rId2"/>
          <a:stretch>
            <a:fillRect/>
          </a:stretch>
        </p:blipFill>
        <p:spPr>
          <a:xfrm>
            <a:off x="2187604" y="1404257"/>
            <a:ext cx="7813616" cy="4419600"/>
          </a:xfrm>
          <a:prstGeom prst="rect">
            <a:avLst/>
          </a:prstGeom>
        </p:spPr>
      </p:pic>
    </p:spTree>
    <p:extLst>
      <p:ext uri="{BB962C8B-B14F-4D97-AF65-F5344CB8AC3E}">
        <p14:creationId xmlns:p14="http://schemas.microsoft.com/office/powerpoint/2010/main" val="104373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B82EA-B40B-4140-95B9-B835A8556077}"/>
              </a:ext>
            </a:extLst>
          </p:cNvPr>
          <p:cNvSpPr>
            <a:spLocks noGrp="1"/>
          </p:cNvSpPr>
          <p:nvPr>
            <p:ph type="title"/>
          </p:nvPr>
        </p:nvSpPr>
        <p:spPr/>
        <p:txBody>
          <a:bodyPr/>
          <a:lstStyle/>
          <a:p>
            <a:r>
              <a:rPr lang="en-GB" dirty="0"/>
              <a:t>Access control</a:t>
            </a:r>
            <a:endParaRPr lang="en-US" dirty="0"/>
          </a:p>
        </p:txBody>
      </p:sp>
      <p:sp>
        <p:nvSpPr>
          <p:cNvPr id="4" name="Slide Number Placeholder 3">
            <a:extLst>
              <a:ext uri="{FF2B5EF4-FFF2-40B4-BE49-F238E27FC236}">
                <a16:creationId xmlns:a16="http://schemas.microsoft.com/office/drawing/2014/main" id="{BDE3E12B-B9A2-4FE7-A01C-2A4E457ED6F8}"/>
              </a:ext>
            </a:extLst>
          </p:cNvPr>
          <p:cNvSpPr>
            <a:spLocks noGrp="1"/>
          </p:cNvSpPr>
          <p:nvPr>
            <p:ph type="sldNum" sz="quarter" idx="10"/>
          </p:nvPr>
        </p:nvSpPr>
        <p:spPr/>
        <p:txBody>
          <a:bodyPr/>
          <a:lstStyle/>
          <a:p>
            <a:fld id="{4EACBA47-91FC-4F0F-98EF-AF8B449ABA17}" type="slidenum">
              <a:rPr lang="nl-NL" noProof="0" smtClean="0"/>
              <a:pPr/>
              <a:t>18</a:t>
            </a:fld>
            <a:endParaRPr lang="nl-NL" noProof="0"/>
          </a:p>
        </p:txBody>
      </p:sp>
      <p:sp>
        <p:nvSpPr>
          <p:cNvPr id="5" name="Footer Placeholder 4">
            <a:extLst>
              <a:ext uri="{FF2B5EF4-FFF2-40B4-BE49-F238E27FC236}">
                <a16:creationId xmlns:a16="http://schemas.microsoft.com/office/drawing/2014/main" id="{63877A0D-E5F4-4A98-A550-1D1A434EB2A0}"/>
              </a:ext>
            </a:extLst>
          </p:cNvPr>
          <p:cNvSpPr>
            <a:spLocks noGrp="1"/>
          </p:cNvSpPr>
          <p:nvPr>
            <p:ph type="ftr" sz="quarter" idx="11"/>
          </p:nvPr>
        </p:nvSpPr>
        <p:spPr/>
        <p:txBody>
          <a:bodyPr/>
          <a:lstStyle/>
          <a:p>
            <a:r>
              <a:rPr lang="nl-NL" noProof="0"/>
              <a:t>Sogeti PowerPoint Referentie 2014</a:t>
            </a:r>
          </a:p>
        </p:txBody>
      </p:sp>
      <p:grpSp>
        <p:nvGrpSpPr>
          <p:cNvPr id="170" name="Group 169">
            <a:extLst>
              <a:ext uri="{FF2B5EF4-FFF2-40B4-BE49-F238E27FC236}">
                <a16:creationId xmlns:a16="http://schemas.microsoft.com/office/drawing/2014/main" id="{6B899494-DDEA-414D-9CB5-A909BB17D771}"/>
              </a:ext>
            </a:extLst>
          </p:cNvPr>
          <p:cNvGrpSpPr/>
          <p:nvPr/>
        </p:nvGrpSpPr>
        <p:grpSpPr>
          <a:xfrm>
            <a:off x="8476100" y="1878890"/>
            <a:ext cx="3305383" cy="4571351"/>
            <a:chOff x="8572585" y="2068518"/>
            <a:chExt cx="3305851" cy="4572000"/>
          </a:xfrm>
        </p:grpSpPr>
        <p:sp>
          <p:nvSpPr>
            <p:cNvPr id="171" name="Rectangle 170">
              <a:extLst>
                <a:ext uri="{FF2B5EF4-FFF2-40B4-BE49-F238E27FC236}">
                  <a16:creationId xmlns:a16="http://schemas.microsoft.com/office/drawing/2014/main" id="{58C162E5-41FA-480E-B452-3882F152C116}"/>
                </a:ext>
              </a:extLst>
            </p:cNvPr>
            <p:cNvSpPr/>
            <p:nvPr/>
          </p:nvSpPr>
          <p:spPr bwMode="auto">
            <a:xfrm>
              <a:off x="8572585" y="2068518"/>
              <a:ext cx="3305851" cy="45720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9196" rIns="186495" bIns="149196" numCol="1" spcCol="0" rtlCol="0" fromWordArt="0" anchor="t" anchorCtr="0" forceAA="0" compatLnSpc="1">
              <a:prstTxWarp prst="textNoShape">
                <a:avLst/>
              </a:prstTxWarp>
              <a:noAutofit/>
            </a:bodyPr>
            <a:lstStyle/>
            <a:p>
              <a:pPr marL="0" marR="0" lvl="0" indent="0" defTabSz="950966" eaLnBrk="1" fontAlgn="auto" latinLnBrk="0" hangingPunct="1">
                <a:lnSpc>
                  <a:spcPct val="90000"/>
                </a:lnSpc>
                <a:spcBef>
                  <a:spcPts val="612"/>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Microsoft Cloud</a:t>
              </a: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399"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3rd Party SaaS Apps</a:t>
              </a: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b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b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b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On Premises Apps</a:t>
              </a:r>
            </a:p>
            <a:p>
              <a:pPr marL="0" marR="0" lvl="0" indent="0" defTabSz="950966" eaLnBrk="1" fontAlgn="auto" latinLnBrk="0" hangingPunct="1">
                <a:lnSpc>
                  <a:spcPct val="90000"/>
                </a:lnSpc>
                <a:spcBef>
                  <a:spcPts val="612"/>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 </a:t>
              </a: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p:txBody>
        </p:sp>
        <p:sp>
          <p:nvSpPr>
            <p:cNvPr id="172" name="Freeform 143">
              <a:extLst>
                <a:ext uri="{FF2B5EF4-FFF2-40B4-BE49-F238E27FC236}">
                  <a16:creationId xmlns:a16="http://schemas.microsoft.com/office/drawing/2014/main" id="{8C786BED-D532-4B6F-9C4A-E911E3B7AF52}"/>
                </a:ext>
              </a:extLst>
            </p:cNvPr>
            <p:cNvSpPr>
              <a:spLocks noEditPoints="1"/>
            </p:cNvSpPr>
            <p:nvPr/>
          </p:nvSpPr>
          <p:spPr bwMode="auto">
            <a:xfrm>
              <a:off x="8810421" y="5787704"/>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cxnSp>
          <p:nvCxnSpPr>
            <p:cNvPr id="173" name="Straight Connector 172">
              <a:extLst>
                <a:ext uri="{FF2B5EF4-FFF2-40B4-BE49-F238E27FC236}">
                  <a16:creationId xmlns:a16="http://schemas.microsoft.com/office/drawing/2014/main" id="{48E64935-BF7D-446F-B96A-90C5933BEA35}"/>
                </a:ext>
              </a:extLst>
            </p:cNvPr>
            <p:cNvCxnSpPr/>
            <p:nvPr/>
          </p:nvCxnSpPr>
          <p:spPr>
            <a:xfrm>
              <a:off x="9065961" y="6058656"/>
              <a:ext cx="2292368" cy="0"/>
            </a:xfrm>
            <a:prstGeom prst="line">
              <a:avLst/>
            </a:prstGeom>
            <a:noFill/>
            <a:ln w="28575" cap="flat" cmpd="sng" algn="ctr">
              <a:solidFill>
                <a:srgbClr val="D83B01"/>
              </a:solidFill>
              <a:prstDash val="sysDot"/>
              <a:headEnd type="none" w="med" len="med"/>
              <a:tailEnd type="none" w="med" len="med"/>
            </a:ln>
            <a:effectLst/>
          </p:spPr>
        </p:cxnSp>
        <p:grpSp>
          <p:nvGrpSpPr>
            <p:cNvPr id="174" name="Group 173">
              <a:extLst>
                <a:ext uri="{FF2B5EF4-FFF2-40B4-BE49-F238E27FC236}">
                  <a16:creationId xmlns:a16="http://schemas.microsoft.com/office/drawing/2014/main" id="{BBBD0179-C1A1-456E-BC58-81ED78977DE9}"/>
                </a:ext>
              </a:extLst>
            </p:cNvPr>
            <p:cNvGrpSpPr/>
            <p:nvPr/>
          </p:nvGrpSpPr>
          <p:grpSpPr>
            <a:xfrm>
              <a:off x="9507719" y="5838843"/>
              <a:ext cx="1900570" cy="439626"/>
              <a:chOff x="9253811" y="5671796"/>
              <a:chExt cx="1900570" cy="439626"/>
            </a:xfrm>
          </p:grpSpPr>
          <p:grpSp>
            <p:nvGrpSpPr>
              <p:cNvPr id="230" name="Group 229">
                <a:extLst>
                  <a:ext uri="{FF2B5EF4-FFF2-40B4-BE49-F238E27FC236}">
                    <a16:creationId xmlns:a16="http://schemas.microsoft.com/office/drawing/2014/main" id="{5B6F07C4-D75B-43C8-926B-01E5A24D3951}"/>
                  </a:ext>
                </a:extLst>
              </p:cNvPr>
              <p:cNvGrpSpPr/>
              <p:nvPr/>
            </p:nvGrpSpPr>
            <p:grpSpPr>
              <a:xfrm>
                <a:off x="9253811" y="5777167"/>
                <a:ext cx="334255" cy="334255"/>
                <a:chOff x="368699" y="3596110"/>
                <a:chExt cx="334255" cy="334255"/>
              </a:xfrm>
            </p:grpSpPr>
            <p:sp>
              <p:nvSpPr>
                <p:cNvPr id="246" name="Rectangle: Rounded Corners 245">
                  <a:extLst>
                    <a:ext uri="{FF2B5EF4-FFF2-40B4-BE49-F238E27FC236}">
                      <a16:creationId xmlns:a16="http://schemas.microsoft.com/office/drawing/2014/main" id="{0EF1CCF4-7D4A-4E92-94C9-A0B0F2AFFAE8}"/>
                    </a:ext>
                  </a:extLst>
                </p:cNvPr>
                <p:cNvSpPr/>
                <p:nvPr/>
              </p:nvSpPr>
              <p:spPr bwMode="auto">
                <a:xfrm>
                  <a:off x="368699" y="3596110"/>
                  <a:ext cx="334255" cy="334255"/>
                </a:xfrm>
                <a:prstGeom prst="round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7" name="Group 246">
                  <a:extLst>
                    <a:ext uri="{FF2B5EF4-FFF2-40B4-BE49-F238E27FC236}">
                      <a16:creationId xmlns:a16="http://schemas.microsoft.com/office/drawing/2014/main" id="{53953F07-998C-45FD-8FBD-5D54B4A1FB89}"/>
                    </a:ext>
                  </a:extLst>
                </p:cNvPr>
                <p:cNvGrpSpPr/>
                <p:nvPr/>
              </p:nvGrpSpPr>
              <p:grpSpPr>
                <a:xfrm>
                  <a:off x="382033" y="3609497"/>
                  <a:ext cx="307586" cy="307480"/>
                  <a:chOff x="-133735" y="-444418"/>
                  <a:chExt cx="9232900" cy="9229725"/>
                </a:xfrm>
                <a:solidFill>
                  <a:srgbClr val="353535"/>
                </a:solidFill>
              </p:grpSpPr>
              <p:sp>
                <p:nvSpPr>
                  <p:cNvPr id="248" name="Freeform 9">
                    <a:extLst>
                      <a:ext uri="{FF2B5EF4-FFF2-40B4-BE49-F238E27FC236}">
                        <a16:creationId xmlns:a16="http://schemas.microsoft.com/office/drawing/2014/main" id="{038E0D34-97B4-4A78-BEB6-5A2EE0207613}"/>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sp>
                <p:nvSpPr>
                  <p:cNvPr id="249" name="Freeform 10">
                    <a:extLst>
                      <a:ext uri="{FF2B5EF4-FFF2-40B4-BE49-F238E27FC236}">
                        <a16:creationId xmlns:a16="http://schemas.microsoft.com/office/drawing/2014/main" id="{6667835D-835B-4145-BEBD-416DF76BE437}"/>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grpSp>
          </p:grpSp>
          <p:grpSp>
            <p:nvGrpSpPr>
              <p:cNvPr id="231" name="Group 230">
                <a:extLst>
                  <a:ext uri="{FF2B5EF4-FFF2-40B4-BE49-F238E27FC236}">
                    <a16:creationId xmlns:a16="http://schemas.microsoft.com/office/drawing/2014/main" id="{B9F71C5A-155B-4B41-84A1-AA746F7093D5}"/>
                  </a:ext>
                </a:extLst>
              </p:cNvPr>
              <p:cNvGrpSpPr/>
              <p:nvPr/>
            </p:nvGrpSpPr>
            <p:grpSpPr>
              <a:xfrm>
                <a:off x="9775916" y="5671796"/>
                <a:ext cx="334255" cy="334255"/>
                <a:chOff x="368699" y="3596110"/>
                <a:chExt cx="334255" cy="334255"/>
              </a:xfrm>
            </p:grpSpPr>
            <p:sp>
              <p:nvSpPr>
                <p:cNvPr id="242" name="Rectangle: Rounded Corners 241">
                  <a:extLst>
                    <a:ext uri="{FF2B5EF4-FFF2-40B4-BE49-F238E27FC236}">
                      <a16:creationId xmlns:a16="http://schemas.microsoft.com/office/drawing/2014/main" id="{BA030408-5559-4893-9BE3-68A4E32621DF}"/>
                    </a:ext>
                  </a:extLst>
                </p:cNvPr>
                <p:cNvSpPr/>
                <p:nvPr/>
              </p:nvSpPr>
              <p:spPr bwMode="auto">
                <a:xfrm>
                  <a:off x="368699" y="3596110"/>
                  <a:ext cx="334255" cy="334255"/>
                </a:xfrm>
                <a:prstGeom prst="round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3" name="Group 242">
                  <a:extLst>
                    <a:ext uri="{FF2B5EF4-FFF2-40B4-BE49-F238E27FC236}">
                      <a16:creationId xmlns:a16="http://schemas.microsoft.com/office/drawing/2014/main" id="{D4F70EF8-FB96-4A1C-9D80-A022583DDF59}"/>
                    </a:ext>
                  </a:extLst>
                </p:cNvPr>
                <p:cNvGrpSpPr/>
                <p:nvPr/>
              </p:nvGrpSpPr>
              <p:grpSpPr>
                <a:xfrm>
                  <a:off x="382033" y="3609497"/>
                  <a:ext cx="307586" cy="307480"/>
                  <a:chOff x="-133735" y="-444418"/>
                  <a:chExt cx="9232900" cy="9229725"/>
                </a:xfrm>
                <a:solidFill>
                  <a:srgbClr val="353535"/>
                </a:solidFill>
              </p:grpSpPr>
              <p:sp>
                <p:nvSpPr>
                  <p:cNvPr id="244" name="Freeform 9">
                    <a:extLst>
                      <a:ext uri="{FF2B5EF4-FFF2-40B4-BE49-F238E27FC236}">
                        <a16:creationId xmlns:a16="http://schemas.microsoft.com/office/drawing/2014/main" id="{268E28D9-08EB-4C0B-987C-60341AE75C01}"/>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sp>
                <p:nvSpPr>
                  <p:cNvPr id="245" name="Freeform 10">
                    <a:extLst>
                      <a:ext uri="{FF2B5EF4-FFF2-40B4-BE49-F238E27FC236}">
                        <a16:creationId xmlns:a16="http://schemas.microsoft.com/office/drawing/2014/main" id="{902D85B3-E648-4CC2-8D19-DCBD7DE5E7EA}"/>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grpSp>
          </p:grpSp>
          <p:grpSp>
            <p:nvGrpSpPr>
              <p:cNvPr id="232" name="Group 231">
                <a:extLst>
                  <a:ext uri="{FF2B5EF4-FFF2-40B4-BE49-F238E27FC236}">
                    <a16:creationId xmlns:a16="http://schemas.microsoft.com/office/drawing/2014/main" id="{D4F57BFF-C01A-49BF-A1AC-7EAD86D59730}"/>
                  </a:ext>
                </a:extLst>
              </p:cNvPr>
              <p:cNvGrpSpPr/>
              <p:nvPr/>
            </p:nvGrpSpPr>
            <p:grpSpPr>
              <a:xfrm>
                <a:off x="10298021" y="5777167"/>
                <a:ext cx="334255" cy="334255"/>
                <a:chOff x="368699" y="3596110"/>
                <a:chExt cx="334255" cy="334255"/>
              </a:xfrm>
            </p:grpSpPr>
            <p:sp>
              <p:nvSpPr>
                <p:cNvPr id="238" name="Rectangle: Rounded Corners 237">
                  <a:extLst>
                    <a:ext uri="{FF2B5EF4-FFF2-40B4-BE49-F238E27FC236}">
                      <a16:creationId xmlns:a16="http://schemas.microsoft.com/office/drawing/2014/main" id="{B3168A74-DA2E-4EA0-BF6E-4F44EA3AC9BB}"/>
                    </a:ext>
                  </a:extLst>
                </p:cNvPr>
                <p:cNvSpPr/>
                <p:nvPr/>
              </p:nvSpPr>
              <p:spPr bwMode="auto">
                <a:xfrm>
                  <a:off x="368699" y="3596110"/>
                  <a:ext cx="334255" cy="334255"/>
                </a:xfrm>
                <a:prstGeom prst="round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9" name="Group 238">
                  <a:extLst>
                    <a:ext uri="{FF2B5EF4-FFF2-40B4-BE49-F238E27FC236}">
                      <a16:creationId xmlns:a16="http://schemas.microsoft.com/office/drawing/2014/main" id="{E10673D9-BE81-428D-BA32-9C505E96F907}"/>
                    </a:ext>
                  </a:extLst>
                </p:cNvPr>
                <p:cNvGrpSpPr/>
                <p:nvPr/>
              </p:nvGrpSpPr>
              <p:grpSpPr>
                <a:xfrm>
                  <a:off x="382033" y="3609497"/>
                  <a:ext cx="307586" cy="307480"/>
                  <a:chOff x="-133735" y="-444418"/>
                  <a:chExt cx="9232900" cy="9229725"/>
                </a:xfrm>
                <a:solidFill>
                  <a:srgbClr val="353535"/>
                </a:solidFill>
              </p:grpSpPr>
              <p:sp>
                <p:nvSpPr>
                  <p:cNvPr id="240" name="Freeform 9">
                    <a:extLst>
                      <a:ext uri="{FF2B5EF4-FFF2-40B4-BE49-F238E27FC236}">
                        <a16:creationId xmlns:a16="http://schemas.microsoft.com/office/drawing/2014/main" id="{97F1B894-AE9D-4939-BCD8-74A126582D2D}"/>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sp>
                <p:nvSpPr>
                  <p:cNvPr id="241" name="Freeform 10">
                    <a:extLst>
                      <a:ext uri="{FF2B5EF4-FFF2-40B4-BE49-F238E27FC236}">
                        <a16:creationId xmlns:a16="http://schemas.microsoft.com/office/drawing/2014/main" id="{95E8313C-1907-4286-83DB-2472F534879C}"/>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grpSp>
          </p:grpSp>
          <p:grpSp>
            <p:nvGrpSpPr>
              <p:cNvPr id="233" name="Group 232">
                <a:extLst>
                  <a:ext uri="{FF2B5EF4-FFF2-40B4-BE49-F238E27FC236}">
                    <a16:creationId xmlns:a16="http://schemas.microsoft.com/office/drawing/2014/main" id="{21313816-405B-45DE-A98B-E9BFBD1B5B83}"/>
                  </a:ext>
                </a:extLst>
              </p:cNvPr>
              <p:cNvGrpSpPr/>
              <p:nvPr/>
            </p:nvGrpSpPr>
            <p:grpSpPr>
              <a:xfrm>
                <a:off x="10820126" y="5671796"/>
                <a:ext cx="334255" cy="334255"/>
                <a:chOff x="368699" y="3596110"/>
                <a:chExt cx="334255" cy="334255"/>
              </a:xfrm>
            </p:grpSpPr>
            <p:sp>
              <p:nvSpPr>
                <p:cNvPr id="234" name="Rectangle: Rounded Corners 233">
                  <a:extLst>
                    <a:ext uri="{FF2B5EF4-FFF2-40B4-BE49-F238E27FC236}">
                      <a16:creationId xmlns:a16="http://schemas.microsoft.com/office/drawing/2014/main" id="{083D8911-548B-4030-ABFA-2A86A29419A7}"/>
                    </a:ext>
                  </a:extLst>
                </p:cNvPr>
                <p:cNvSpPr/>
                <p:nvPr/>
              </p:nvSpPr>
              <p:spPr bwMode="auto">
                <a:xfrm>
                  <a:off x="368699" y="3596110"/>
                  <a:ext cx="334255" cy="334255"/>
                </a:xfrm>
                <a:prstGeom prst="round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5" name="Group 234">
                  <a:extLst>
                    <a:ext uri="{FF2B5EF4-FFF2-40B4-BE49-F238E27FC236}">
                      <a16:creationId xmlns:a16="http://schemas.microsoft.com/office/drawing/2014/main" id="{1E46A9DF-4E5B-47D4-BE4B-DD977CAA8D83}"/>
                    </a:ext>
                  </a:extLst>
                </p:cNvPr>
                <p:cNvGrpSpPr/>
                <p:nvPr/>
              </p:nvGrpSpPr>
              <p:grpSpPr>
                <a:xfrm>
                  <a:off x="382033" y="3609497"/>
                  <a:ext cx="307586" cy="307480"/>
                  <a:chOff x="-133735" y="-444418"/>
                  <a:chExt cx="9232900" cy="9229725"/>
                </a:xfrm>
                <a:solidFill>
                  <a:srgbClr val="353535"/>
                </a:solidFill>
              </p:grpSpPr>
              <p:sp>
                <p:nvSpPr>
                  <p:cNvPr id="236" name="Freeform 9">
                    <a:extLst>
                      <a:ext uri="{FF2B5EF4-FFF2-40B4-BE49-F238E27FC236}">
                        <a16:creationId xmlns:a16="http://schemas.microsoft.com/office/drawing/2014/main" id="{6C177B90-5D6B-44E9-82A2-C06138F3448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sp>
                <p:nvSpPr>
                  <p:cNvPr id="237" name="Freeform 10">
                    <a:extLst>
                      <a:ext uri="{FF2B5EF4-FFF2-40B4-BE49-F238E27FC236}">
                        <a16:creationId xmlns:a16="http://schemas.microsoft.com/office/drawing/2014/main" id="{DF01B991-3A62-4654-B0A6-DF2A24BB1EED}"/>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grpSp>
          </p:grpSp>
        </p:grpSp>
        <p:grpSp>
          <p:nvGrpSpPr>
            <p:cNvPr id="175" name="Group 174">
              <a:extLst>
                <a:ext uri="{FF2B5EF4-FFF2-40B4-BE49-F238E27FC236}">
                  <a16:creationId xmlns:a16="http://schemas.microsoft.com/office/drawing/2014/main" id="{C840E625-C543-4119-9D31-2E3C976C54DA}"/>
                </a:ext>
              </a:extLst>
            </p:cNvPr>
            <p:cNvGrpSpPr/>
            <p:nvPr/>
          </p:nvGrpSpPr>
          <p:grpSpPr>
            <a:xfrm>
              <a:off x="8814385" y="4127567"/>
              <a:ext cx="2217898" cy="1062095"/>
              <a:chOff x="9070006" y="3904268"/>
              <a:chExt cx="2341089" cy="1121088"/>
            </a:xfrm>
          </p:grpSpPr>
          <p:sp>
            <p:nvSpPr>
              <p:cNvPr id="184" name="Freeform 114">
                <a:extLst>
                  <a:ext uri="{FF2B5EF4-FFF2-40B4-BE49-F238E27FC236}">
                    <a16:creationId xmlns:a16="http://schemas.microsoft.com/office/drawing/2014/main" id="{F1427DE3-41F9-4F74-8CB7-C2F206B2D5AB}"/>
                  </a:ext>
                </a:extLst>
              </p:cNvPr>
              <p:cNvSpPr>
                <a:spLocks noChangeAspect="1" noEditPoints="1"/>
              </p:cNvSpPr>
              <p:nvPr/>
            </p:nvSpPr>
            <p:spPr bwMode="auto">
              <a:xfrm>
                <a:off x="9070006" y="4502148"/>
                <a:ext cx="219983" cy="215601"/>
              </a:xfrm>
              <a:custGeom>
                <a:avLst/>
                <a:gdLst>
                  <a:gd name="T0" fmla="*/ 37 w 106"/>
                  <a:gd name="T1" fmla="*/ 104 h 104"/>
                  <a:gd name="T2" fmla="*/ 25 w 106"/>
                  <a:gd name="T3" fmla="*/ 87 h 104"/>
                  <a:gd name="T4" fmla="*/ 0 w 106"/>
                  <a:gd name="T5" fmla="*/ 65 h 104"/>
                  <a:gd name="T6" fmla="*/ 9 w 106"/>
                  <a:gd name="T7" fmla="*/ 52 h 104"/>
                  <a:gd name="T8" fmla="*/ 0 w 106"/>
                  <a:gd name="T9" fmla="*/ 40 h 104"/>
                  <a:gd name="T10" fmla="*/ 25 w 106"/>
                  <a:gd name="T11" fmla="*/ 18 h 104"/>
                  <a:gd name="T12" fmla="*/ 37 w 106"/>
                  <a:gd name="T13" fmla="*/ 0 h 104"/>
                  <a:gd name="T14" fmla="*/ 69 w 106"/>
                  <a:gd name="T15" fmla="*/ 11 h 104"/>
                  <a:gd name="T16" fmla="*/ 90 w 106"/>
                  <a:gd name="T17" fmla="*/ 13 h 104"/>
                  <a:gd name="T18" fmla="*/ 96 w 106"/>
                  <a:gd name="T19" fmla="*/ 46 h 104"/>
                  <a:gd name="T20" fmla="*/ 96 w 106"/>
                  <a:gd name="T21" fmla="*/ 59 h 104"/>
                  <a:gd name="T22" fmla="*/ 90 w 106"/>
                  <a:gd name="T23" fmla="*/ 92 h 104"/>
                  <a:gd name="T24" fmla="*/ 69 w 106"/>
                  <a:gd name="T25" fmla="*/ 93 h 104"/>
                  <a:gd name="T26" fmla="*/ 45 w 106"/>
                  <a:gd name="T27" fmla="*/ 96 h 104"/>
                  <a:gd name="T28" fmla="*/ 61 w 106"/>
                  <a:gd name="T29" fmla="*/ 88 h 104"/>
                  <a:gd name="T30" fmla="*/ 77 w 106"/>
                  <a:gd name="T31" fmla="*/ 79 h 104"/>
                  <a:gd name="T32" fmla="*/ 87 w 106"/>
                  <a:gd name="T33" fmla="*/ 81 h 104"/>
                  <a:gd name="T34" fmla="*/ 87 w 106"/>
                  <a:gd name="T35" fmla="*/ 63 h 104"/>
                  <a:gd name="T36" fmla="*/ 89 w 106"/>
                  <a:gd name="T37" fmla="*/ 52 h 104"/>
                  <a:gd name="T38" fmla="*/ 87 w 106"/>
                  <a:gd name="T39" fmla="*/ 42 h 104"/>
                  <a:gd name="T40" fmla="*/ 87 w 106"/>
                  <a:gd name="T41" fmla="*/ 24 h 104"/>
                  <a:gd name="T42" fmla="*/ 77 w 106"/>
                  <a:gd name="T43" fmla="*/ 26 h 104"/>
                  <a:gd name="T44" fmla="*/ 61 w 106"/>
                  <a:gd name="T45" fmla="*/ 17 h 104"/>
                  <a:gd name="T46" fmla="*/ 45 w 106"/>
                  <a:gd name="T47" fmla="*/ 8 h 104"/>
                  <a:gd name="T48" fmla="*/ 42 w 106"/>
                  <a:gd name="T49" fmla="*/ 18 h 104"/>
                  <a:gd name="T50" fmla="*/ 26 w 106"/>
                  <a:gd name="T51" fmla="*/ 28 h 104"/>
                  <a:gd name="T52" fmla="*/ 11 w 106"/>
                  <a:gd name="T53" fmla="*/ 37 h 104"/>
                  <a:gd name="T54" fmla="*/ 18 w 106"/>
                  <a:gd name="T55" fmla="*/ 45 h 104"/>
                  <a:gd name="T56" fmla="*/ 18 w 106"/>
                  <a:gd name="T57" fmla="*/ 60 h 104"/>
                  <a:gd name="T58" fmla="*/ 11 w 106"/>
                  <a:gd name="T59" fmla="*/ 68 h 104"/>
                  <a:gd name="T60" fmla="*/ 26 w 106"/>
                  <a:gd name="T61" fmla="*/ 77 h 104"/>
                  <a:gd name="T62" fmla="*/ 42 w 106"/>
                  <a:gd name="T63" fmla="*/ 87 h 104"/>
                  <a:gd name="T64" fmla="*/ 45 w 106"/>
                  <a:gd name="T65" fmla="*/ 96 h 104"/>
                  <a:gd name="T66" fmla="*/ 25 w 106"/>
                  <a:gd name="T67" fmla="*/ 52 h 104"/>
                  <a:gd name="T68" fmla="*/ 81 w 106"/>
                  <a:gd name="T69" fmla="*/ 52 h 104"/>
                  <a:gd name="T70" fmla="*/ 53 w 106"/>
                  <a:gd name="T71" fmla="*/ 32 h 104"/>
                  <a:gd name="T72" fmla="*/ 53 w 106"/>
                  <a:gd name="T73" fmla="*/ 72 h 104"/>
                  <a:gd name="T74" fmla="*/ 53 w 106"/>
                  <a:gd name="T7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4">
                    <a:moveTo>
                      <a:pt x="69" y="104"/>
                    </a:moveTo>
                    <a:cubicBezTo>
                      <a:pt x="37" y="104"/>
                      <a:pt x="37" y="104"/>
                      <a:pt x="37" y="104"/>
                    </a:cubicBezTo>
                    <a:cubicBezTo>
                      <a:pt x="37" y="93"/>
                      <a:pt x="37" y="93"/>
                      <a:pt x="37" y="93"/>
                    </a:cubicBezTo>
                    <a:cubicBezTo>
                      <a:pt x="33" y="92"/>
                      <a:pt x="29" y="90"/>
                      <a:pt x="25" y="87"/>
                    </a:cubicBezTo>
                    <a:cubicBezTo>
                      <a:pt x="16" y="92"/>
                      <a:pt x="16" y="92"/>
                      <a:pt x="16" y="92"/>
                    </a:cubicBezTo>
                    <a:cubicBezTo>
                      <a:pt x="0" y="65"/>
                      <a:pt x="0" y="65"/>
                      <a:pt x="0" y="65"/>
                    </a:cubicBezTo>
                    <a:cubicBezTo>
                      <a:pt x="9" y="59"/>
                      <a:pt x="9" y="59"/>
                      <a:pt x="9" y="59"/>
                    </a:cubicBezTo>
                    <a:cubicBezTo>
                      <a:pt x="9" y="57"/>
                      <a:pt x="9" y="55"/>
                      <a:pt x="9" y="52"/>
                    </a:cubicBezTo>
                    <a:cubicBezTo>
                      <a:pt x="9" y="50"/>
                      <a:pt x="9" y="48"/>
                      <a:pt x="9" y="46"/>
                    </a:cubicBezTo>
                    <a:cubicBezTo>
                      <a:pt x="0" y="40"/>
                      <a:pt x="0" y="40"/>
                      <a:pt x="0" y="40"/>
                    </a:cubicBezTo>
                    <a:cubicBezTo>
                      <a:pt x="16" y="13"/>
                      <a:pt x="16" y="13"/>
                      <a:pt x="16" y="13"/>
                    </a:cubicBezTo>
                    <a:cubicBezTo>
                      <a:pt x="25" y="18"/>
                      <a:pt x="25" y="18"/>
                      <a:pt x="25"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3"/>
                      <a:pt x="90" y="13"/>
                      <a:pt x="90" y="13"/>
                    </a:cubicBezTo>
                    <a:cubicBezTo>
                      <a:pt x="106" y="40"/>
                      <a:pt x="106" y="40"/>
                      <a:pt x="106" y="40"/>
                    </a:cubicBezTo>
                    <a:cubicBezTo>
                      <a:pt x="96" y="46"/>
                      <a:pt x="96" y="46"/>
                      <a:pt x="96" y="46"/>
                    </a:cubicBezTo>
                    <a:cubicBezTo>
                      <a:pt x="97" y="48"/>
                      <a:pt x="97" y="50"/>
                      <a:pt x="97" y="52"/>
                    </a:cubicBezTo>
                    <a:cubicBezTo>
                      <a:pt x="97" y="55"/>
                      <a:pt x="97" y="57"/>
                      <a:pt x="96" y="59"/>
                    </a:cubicBezTo>
                    <a:cubicBezTo>
                      <a:pt x="106" y="65"/>
                      <a:pt x="106" y="65"/>
                      <a:pt x="106" y="65"/>
                    </a:cubicBezTo>
                    <a:cubicBezTo>
                      <a:pt x="90" y="92"/>
                      <a:pt x="90" y="92"/>
                      <a:pt x="90" y="92"/>
                    </a:cubicBezTo>
                    <a:cubicBezTo>
                      <a:pt x="80" y="87"/>
                      <a:pt x="80" y="87"/>
                      <a:pt x="80" y="87"/>
                    </a:cubicBezTo>
                    <a:cubicBezTo>
                      <a:pt x="77" y="90"/>
                      <a:pt x="73" y="92"/>
                      <a:pt x="69" y="93"/>
                    </a:cubicBezTo>
                    <a:lnTo>
                      <a:pt x="69" y="104"/>
                    </a:lnTo>
                    <a:close/>
                    <a:moveTo>
                      <a:pt x="45" y="96"/>
                    </a:moveTo>
                    <a:cubicBezTo>
                      <a:pt x="61" y="96"/>
                      <a:pt x="61" y="96"/>
                      <a:pt x="61" y="96"/>
                    </a:cubicBezTo>
                    <a:cubicBezTo>
                      <a:pt x="61" y="88"/>
                      <a:pt x="61" y="88"/>
                      <a:pt x="61" y="88"/>
                    </a:cubicBezTo>
                    <a:cubicBezTo>
                      <a:pt x="64" y="87"/>
                      <a:pt x="64" y="87"/>
                      <a:pt x="64" y="87"/>
                    </a:cubicBezTo>
                    <a:cubicBezTo>
                      <a:pt x="69" y="85"/>
                      <a:pt x="73" y="83"/>
                      <a:pt x="77" y="79"/>
                    </a:cubicBezTo>
                    <a:cubicBezTo>
                      <a:pt x="79" y="77"/>
                      <a:pt x="79" y="77"/>
                      <a:pt x="79" y="77"/>
                    </a:cubicBezTo>
                    <a:cubicBezTo>
                      <a:pt x="87" y="81"/>
                      <a:pt x="87" y="81"/>
                      <a:pt x="87" y="81"/>
                    </a:cubicBezTo>
                    <a:cubicBezTo>
                      <a:pt x="95" y="68"/>
                      <a:pt x="95" y="68"/>
                      <a:pt x="95" y="68"/>
                    </a:cubicBezTo>
                    <a:cubicBezTo>
                      <a:pt x="87" y="63"/>
                      <a:pt x="87" y="63"/>
                      <a:pt x="87" y="63"/>
                    </a:cubicBezTo>
                    <a:cubicBezTo>
                      <a:pt x="88" y="60"/>
                      <a:pt x="88" y="60"/>
                      <a:pt x="88" y="60"/>
                    </a:cubicBezTo>
                    <a:cubicBezTo>
                      <a:pt x="88" y="58"/>
                      <a:pt x="89" y="55"/>
                      <a:pt x="89" y="52"/>
                    </a:cubicBezTo>
                    <a:cubicBezTo>
                      <a:pt x="89" y="50"/>
                      <a:pt x="88" y="47"/>
                      <a:pt x="88" y="45"/>
                    </a:cubicBezTo>
                    <a:cubicBezTo>
                      <a:pt x="87" y="42"/>
                      <a:pt x="87" y="42"/>
                      <a:pt x="87" y="42"/>
                    </a:cubicBezTo>
                    <a:cubicBezTo>
                      <a:pt x="95" y="37"/>
                      <a:pt x="95" y="37"/>
                      <a:pt x="95" y="37"/>
                    </a:cubicBezTo>
                    <a:cubicBezTo>
                      <a:pt x="87" y="24"/>
                      <a:pt x="87" y="24"/>
                      <a:pt x="87" y="24"/>
                    </a:cubicBezTo>
                    <a:cubicBezTo>
                      <a:pt x="79" y="28"/>
                      <a:pt x="79" y="28"/>
                      <a:pt x="79" y="28"/>
                    </a:cubicBezTo>
                    <a:cubicBezTo>
                      <a:pt x="77" y="26"/>
                      <a:pt x="77" y="26"/>
                      <a:pt x="77" y="26"/>
                    </a:cubicBezTo>
                    <a:cubicBezTo>
                      <a:pt x="73" y="22"/>
                      <a:pt x="69" y="20"/>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20"/>
                      <a:pt x="32" y="22"/>
                      <a:pt x="28" y="26"/>
                    </a:cubicBezTo>
                    <a:cubicBezTo>
                      <a:pt x="26" y="28"/>
                      <a:pt x="26" y="28"/>
                      <a:pt x="26" y="28"/>
                    </a:cubicBezTo>
                    <a:cubicBezTo>
                      <a:pt x="19" y="24"/>
                      <a:pt x="19" y="24"/>
                      <a:pt x="19" y="24"/>
                    </a:cubicBezTo>
                    <a:cubicBezTo>
                      <a:pt x="11" y="37"/>
                      <a:pt x="11" y="37"/>
                      <a:pt x="11" y="37"/>
                    </a:cubicBezTo>
                    <a:cubicBezTo>
                      <a:pt x="18" y="42"/>
                      <a:pt x="18" y="42"/>
                      <a:pt x="18" y="42"/>
                    </a:cubicBezTo>
                    <a:cubicBezTo>
                      <a:pt x="18" y="45"/>
                      <a:pt x="18" y="45"/>
                      <a:pt x="18" y="45"/>
                    </a:cubicBezTo>
                    <a:cubicBezTo>
                      <a:pt x="17" y="47"/>
                      <a:pt x="17" y="50"/>
                      <a:pt x="17" y="52"/>
                    </a:cubicBezTo>
                    <a:cubicBezTo>
                      <a:pt x="17" y="55"/>
                      <a:pt x="17" y="58"/>
                      <a:pt x="18" y="60"/>
                    </a:cubicBezTo>
                    <a:cubicBezTo>
                      <a:pt x="18" y="63"/>
                      <a:pt x="18" y="63"/>
                      <a:pt x="18" y="63"/>
                    </a:cubicBezTo>
                    <a:cubicBezTo>
                      <a:pt x="11" y="68"/>
                      <a:pt x="11" y="68"/>
                      <a:pt x="11" y="68"/>
                    </a:cubicBezTo>
                    <a:cubicBezTo>
                      <a:pt x="19" y="81"/>
                      <a:pt x="19" y="81"/>
                      <a:pt x="19" y="81"/>
                    </a:cubicBezTo>
                    <a:cubicBezTo>
                      <a:pt x="26" y="77"/>
                      <a:pt x="26" y="77"/>
                      <a:pt x="26" y="77"/>
                    </a:cubicBezTo>
                    <a:cubicBezTo>
                      <a:pt x="28" y="79"/>
                      <a:pt x="28" y="79"/>
                      <a:pt x="28" y="79"/>
                    </a:cubicBezTo>
                    <a:cubicBezTo>
                      <a:pt x="32" y="83"/>
                      <a:pt x="37" y="85"/>
                      <a:pt x="42" y="87"/>
                    </a:cubicBezTo>
                    <a:cubicBezTo>
                      <a:pt x="45" y="88"/>
                      <a:pt x="45" y="88"/>
                      <a:pt x="45" y="88"/>
                    </a:cubicBezTo>
                    <a:lnTo>
                      <a:pt x="45" y="96"/>
                    </a:lnTo>
                    <a:close/>
                    <a:moveTo>
                      <a:pt x="53" y="80"/>
                    </a:moveTo>
                    <a:cubicBezTo>
                      <a:pt x="37" y="80"/>
                      <a:pt x="25" y="68"/>
                      <a:pt x="25" y="52"/>
                    </a:cubicBezTo>
                    <a:cubicBezTo>
                      <a:pt x="25" y="37"/>
                      <a:pt x="37" y="24"/>
                      <a:pt x="53" y="24"/>
                    </a:cubicBezTo>
                    <a:cubicBezTo>
                      <a:pt x="68" y="24"/>
                      <a:pt x="81" y="37"/>
                      <a:pt x="81" y="52"/>
                    </a:cubicBezTo>
                    <a:cubicBezTo>
                      <a:pt x="81" y="68"/>
                      <a:pt x="68" y="80"/>
                      <a:pt x="53" y="80"/>
                    </a:cubicBezTo>
                    <a:close/>
                    <a:moveTo>
                      <a:pt x="53" y="32"/>
                    </a:moveTo>
                    <a:cubicBezTo>
                      <a:pt x="42" y="32"/>
                      <a:pt x="33" y="41"/>
                      <a:pt x="33" y="52"/>
                    </a:cubicBezTo>
                    <a:cubicBezTo>
                      <a:pt x="33" y="64"/>
                      <a:pt x="42" y="72"/>
                      <a:pt x="53" y="72"/>
                    </a:cubicBezTo>
                    <a:cubicBezTo>
                      <a:pt x="64" y="72"/>
                      <a:pt x="73" y="64"/>
                      <a:pt x="73" y="52"/>
                    </a:cubicBezTo>
                    <a:cubicBezTo>
                      <a:pt x="73" y="41"/>
                      <a:pt x="64" y="32"/>
                      <a:pt x="53" y="32"/>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nvGrpSpPr>
              <p:cNvPr id="185" name="Group 4">
                <a:extLst>
                  <a:ext uri="{FF2B5EF4-FFF2-40B4-BE49-F238E27FC236}">
                    <a16:creationId xmlns:a16="http://schemas.microsoft.com/office/drawing/2014/main" id="{17801A96-E49C-4CB0-9A1D-B08B171F2E72}"/>
                  </a:ext>
                </a:extLst>
              </p:cNvPr>
              <p:cNvGrpSpPr>
                <a:grpSpLocks noChangeAspect="1"/>
              </p:cNvGrpSpPr>
              <p:nvPr/>
            </p:nvGrpSpPr>
            <p:grpSpPr bwMode="auto">
              <a:xfrm>
                <a:off x="9776305" y="4815177"/>
                <a:ext cx="368495" cy="182716"/>
                <a:chOff x="-5" y="-15"/>
                <a:chExt cx="5482" cy="2909"/>
              </a:xfrm>
              <a:solidFill>
                <a:srgbClr val="D83B01"/>
              </a:solidFill>
            </p:grpSpPr>
            <p:sp>
              <p:nvSpPr>
                <p:cNvPr id="227" name="Freeform 5">
                  <a:extLst>
                    <a:ext uri="{FF2B5EF4-FFF2-40B4-BE49-F238E27FC236}">
                      <a16:creationId xmlns:a16="http://schemas.microsoft.com/office/drawing/2014/main" id="{99A7AB3A-04AF-4540-9C6A-0157A248D40A}"/>
                    </a:ext>
                  </a:extLst>
                </p:cNvPr>
                <p:cNvSpPr>
                  <a:spLocks noEditPoints="1"/>
                </p:cNvSpPr>
                <p:nvPr/>
              </p:nvSpPr>
              <p:spPr bwMode="auto">
                <a:xfrm>
                  <a:off x="-5" y="-15"/>
                  <a:ext cx="1874" cy="2909"/>
                </a:xfrm>
                <a:custGeom>
                  <a:avLst/>
                  <a:gdLst>
                    <a:gd name="T0" fmla="*/ 6 w 702"/>
                    <a:gd name="T1" fmla="*/ 70 h 1088"/>
                    <a:gd name="T2" fmla="*/ 15 w 702"/>
                    <a:gd name="T3" fmla="*/ 53 h 1088"/>
                    <a:gd name="T4" fmla="*/ 106 w 702"/>
                    <a:gd name="T5" fmla="*/ 6 h 1088"/>
                    <a:gd name="T6" fmla="*/ 175 w 702"/>
                    <a:gd name="T7" fmla="*/ 75 h 1088"/>
                    <a:gd name="T8" fmla="*/ 177 w 702"/>
                    <a:gd name="T9" fmla="*/ 105 h 1088"/>
                    <a:gd name="T10" fmla="*/ 177 w 702"/>
                    <a:gd name="T11" fmla="*/ 411 h 1088"/>
                    <a:gd name="T12" fmla="*/ 177 w 702"/>
                    <a:gd name="T13" fmla="*/ 432 h 1088"/>
                    <a:gd name="T14" fmla="*/ 260 w 702"/>
                    <a:gd name="T15" fmla="*/ 401 h 1088"/>
                    <a:gd name="T16" fmla="*/ 687 w 702"/>
                    <a:gd name="T17" fmla="*/ 697 h 1088"/>
                    <a:gd name="T18" fmla="*/ 411 w 702"/>
                    <a:gd name="T19" fmla="*/ 1065 h 1088"/>
                    <a:gd name="T20" fmla="*/ 79 w 702"/>
                    <a:gd name="T21" fmla="*/ 939 h 1088"/>
                    <a:gd name="T22" fmla="*/ 11 w 702"/>
                    <a:gd name="T23" fmla="*/ 792 h 1088"/>
                    <a:gd name="T24" fmla="*/ 6 w 702"/>
                    <a:gd name="T25" fmla="*/ 652 h 1088"/>
                    <a:gd name="T26" fmla="*/ 6 w 702"/>
                    <a:gd name="T27" fmla="*/ 511 h 1088"/>
                    <a:gd name="T28" fmla="*/ 6 w 702"/>
                    <a:gd name="T29" fmla="*/ 226 h 1088"/>
                    <a:gd name="T30" fmla="*/ 6 w 702"/>
                    <a:gd name="T31" fmla="*/ 147 h 1088"/>
                    <a:gd name="T32" fmla="*/ 6 w 702"/>
                    <a:gd name="T33" fmla="*/ 108 h 1088"/>
                    <a:gd name="T34" fmla="*/ 6 w 702"/>
                    <a:gd name="T35" fmla="*/ 70 h 1088"/>
                    <a:gd name="T36" fmla="*/ 177 w 702"/>
                    <a:gd name="T37" fmla="*/ 729 h 1088"/>
                    <a:gd name="T38" fmla="*/ 346 w 702"/>
                    <a:gd name="T39" fmla="*/ 901 h 1088"/>
                    <a:gd name="T40" fmla="*/ 518 w 702"/>
                    <a:gd name="T41" fmla="*/ 732 h 1088"/>
                    <a:gd name="T42" fmla="*/ 348 w 702"/>
                    <a:gd name="T43" fmla="*/ 559 h 1088"/>
                    <a:gd name="T44" fmla="*/ 177 w 702"/>
                    <a:gd name="T45" fmla="*/ 729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2" h="1088">
                      <a:moveTo>
                        <a:pt x="6" y="70"/>
                      </a:moveTo>
                      <a:cubicBezTo>
                        <a:pt x="9" y="64"/>
                        <a:pt x="12" y="58"/>
                        <a:pt x="15" y="53"/>
                      </a:cubicBezTo>
                      <a:cubicBezTo>
                        <a:pt x="31" y="19"/>
                        <a:pt x="67" y="0"/>
                        <a:pt x="106" y="6"/>
                      </a:cubicBezTo>
                      <a:cubicBezTo>
                        <a:pt x="140" y="11"/>
                        <a:pt x="169" y="39"/>
                        <a:pt x="175" y="75"/>
                      </a:cubicBezTo>
                      <a:cubicBezTo>
                        <a:pt x="176" y="85"/>
                        <a:pt x="177" y="95"/>
                        <a:pt x="177" y="105"/>
                      </a:cubicBezTo>
                      <a:cubicBezTo>
                        <a:pt x="177" y="207"/>
                        <a:pt x="177" y="309"/>
                        <a:pt x="177" y="411"/>
                      </a:cubicBezTo>
                      <a:cubicBezTo>
                        <a:pt x="177" y="418"/>
                        <a:pt x="177" y="425"/>
                        <a:pt x="177" y="432"/>
                      </a:cubicBezTo>
                      <a:cubicBezTo>
                        <a:pt x="206" y="421"/>
                        <a:pt x="232" y="409"/>
                        <a:pt x="260" y="401"/>
                      </a:cubicBezTo>
                      <a:cubicBezTo>
                        <a:pt x="460" y="344"/>
                        <a:pt x="669" y="489"/>
                        <a:pt x="687" y="697"/>
                      </a:cubicBezTo>
                      <a:cubicBezTo>
                        <a:pt x="702" y="875"/>
                        <a:pt x="583" y="1033"/>
                        <a:pt x="411" y="1065"/>
                      </a:cubicBezTo>
                      <a:cubicBezTo>
                        <a:pt x="290" y="1088"/>
                        <a:pt x="151" y="1041"/>
                        <a:pt x="79" y="939"/>
                      </a:cubicBezTo>
                      <a:cubicBezTo>
                        <a:pt x="48" y="895"/>
                        <a:pt x="25" y="843"/>
                        <a:pt x="11" y="792"/>
                      </a:cubicBezTo>
                      <a:cubicBezTo>
                        <a:pt x="0" y="746"/>
                        <a:pt x="6" y="698"/>
                        <a:pt x="6" y="652"/>
                      </a:cubicBezTo>
                      <a:cubicBezTo>
                        <a:pt x="6" y="605"/>
                        <a:pt x="6" y="558"/>
                        <a:pt x="6" y="511"/>
                      </a:cubicBezTo>
                      <a:cubicBezTo>
                        <a:pt x="6" y="416"/>
                        <a:pt x="6" y="321"/>
                        <a:pt x="6" y="226"/>
                      </a:cubicBezTo>
                      <a:cubicBezTo>
                        <a:pt x="6" y="200"/>
                        <a:pt x="6" y="173"/>
                        <a:pt x="6" y="147"/>
                      </a:cubicBezTo>
                      <a:cubicBezTo>
                        <a:pt x="6" y="134"/>
                        <a:pt x="6" y="121"/>
                        <a:pt x="6" y="108"/>
                      </a:cubicBezTo>
                      <a:cubicBezTo>
                        <a:pt x="6" y="99"/>
                        <a:pt x="2" y="78"/>
                        <a:pt x="6" y="70"/>
                      </a:cubicBezTo>
                      <a:close/>
                      <a:moveTo>
                        <a:pt x="177" y="729"/>
                      </a:moveTo>
                      <a:cubicBezTo>
                        <a:pt x="177" y="823"/>
                        <a:pt x="252" y="899"/>
                        <a:pt x="346" y="901"/>
                      </a:cubicBezTo>
                      <a:cubicBezTo>
                        <a:pt x="439" y="902"/>
                        <a:pt x="517" y="825"/>
                        <a:pt x="518" y="732"/>
                      </a:cubicBezTo>
                      <a:cubicBezTo>
                        <a:pt x="519" y="637"/>
                        <a:pt x="442" y="559"/>
                        <a:pt x="348" y="559"/>
                      </a:cubicBezTo>
                      <a:cubicBezTo>
                        <a:pt x="254" y="559"/>
                        <a:pt x="177" y="635"/>
                        <a:pt x="177" y="7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8" name="Freeform 6">
                  <a:extLst>
                    <a:ext uri="{FF2B5EF4-FFF2-40B4-BE49-F238E27FC236}">
                      <a16:creationId xmlns:a16="http://schemas.microsoft.com/office/drawing/2014/main" id="{D7EA71CF-B8F1-465E-A25D-06144214BD5E}"/>
                    </a:ext>
                  </a:extLst>
                </p:cNvPr>
                <p:cNvSpPr>
                  <a:spLocks/>
                </p:cNvSpPr>
                <p:nvPr/>
              </p:nvSpPr>
              <p:spPr bwMode="auto">
                <a:xfrm>
                  <a:off x="3620" y="990"/>
                  <a:ext cx="1857" cy="1875"/>
                </a:xfrm>
                <a:custGeom>
                  <a:avLst/>
                  <a:gdLst>
                    <a:gd name="T0" fmla="*/ 696 w 696"/>
                    <a:gd name="T1" fmla="*/ 626 h 701"/>
                    <a:gd name="T2" fmla="*/ 609 w 696"/>
                    <a:gd name="T3" fmla="*/ 695 h 701"/>
                    <a:gd name="T4" fmla="*/ 547 w 696"/>
                    <a:gd name="T5" fmla="*/ 667 h 701"/>
                    <a:gd name="T6" fmla="*/ 354 w 696"/>
                    <a:gd name="T7" fmla="*/ 473 h 701"/>
                    <a:gd name="T8" fmla="*/ 337 w 696"/>
                    <a:gd name="T9" fmla="*/ 488 h 701"/>
                    <a:gd name="T10" fmla="*/ 156 w 696"/>
                    <a:gd name="T11" fmla="*/ 669 h 701"/>
                    <a:gd name="T12" fmla="*/ 66 w 696"/>
                    <a:gd name="T13" fmla="*/ 690 h 701"/>
                    <a:gd name="T14" fmla="*/ 10 w 696"/>
                    <a:gd name="T15" fmla="*/ 618 h 701"/>
                    <a:gd name="T16" fmla="*/ 37 w 696"/>
                    <a:gd name="T17" fmla="*/ 546 h 701"/>
                    <a:gd name="T18" fmla="*/ 182 w 696"/>
                    <a:gd name="T19" fmla="*/ 401 h 701"/>
                    <a:gd name="T20" fmla="*/ 235 w 696"/>
                    <a:gd name="T21" fmla="*/ 354 h 701"/>
                    <a:gd name="T22" fmla="*/ 101 w 696"/>
                    <a:gd name="T23" fmla="*/ 221 h 701"/>
                    <a:gd name="T24" fmla="*/ 36 w 696"/>
                    <a:gd name="T25" fmla="*/ 156 h 701"/>
                    <a:gd name="T26" fmla="*/ 34 w 696"/>
                    <a:gd name="T27" fmla="*/ 34 h 701"/>
                    <a:gd name="T28" fmla="*/ 157 w 696"/>
                    <a:gd name="T29" fmla="*/ 36 h 701"/>
                    <a:gd name="T30" fmla="*/ 335 w 696"/>
                    <a:gd name="T31" fmla="*/ 214 h 701"/>
                    <a:gd name="T32" fmla="*/ 350 w 696"/>
                    <a:gd name="T33" fmla="*/ 232 h 701"/>
                    <a:gd name="T34" fmla="*/ 368 w 696"/>
                    <a:gd name="T35" fmla="*/ 216 h 701"/>
                    <a:gd name="T36" fmla="*/ 542 w 696"/>
                    <a:gd name="T37" fmla="*/ 41 h 701"/>
                    <a:gd name="T38" fmla="*/ 615 w 696"/>
                    <a:gd name="T39" fmla="*/ 10 h 701"/>
                    <a:gd name="T40" fmla="*/ 669 w 696"/>
                    <a:gd name="T41" fmla="*/ 30 h 701"/>
                    <a:gd name="T42" fmla="*/ 695 w 696"/>
                    <a:gd name="T43" fmla="*/ 93 h 701"/>
                    <a:gd name="T44" fmla="*/ 655 w 696"/>
                    <a:gd name="T45" fmla="*/ 170 h 701"/>
                    <a:gd name="T46" fmla="*/ 489 w 696"/>
                    <a:gd name="T47" fmla="*/ 337 h 701"/>
                    <a:gd name="T48" fmla="*/ 474 w 696"/>
                    <a:gd name="T49" fmla="*/ 353 h 701"/>
                    <a:gd name="T50" fmla="*/ 647 w 696"/>
                    <a:gd name="T51" fmla="*/ 526 h 701"/>
                    <a:gd name="T52" fmla="*/ 696 w 696"/>
                    <a:gd name="T53" fmla="*/ 590 h 701"/>
                    <a:gd name="T54" fmla="*/ 696 w 696"/>
                    <a:gd name="T55" fmla="*/ 626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96" h="701">
                      <a:moveTo>
                        <a:pt x="696" y="626"/>
                      </a:moveTo>
                      <a:cubicBezTo>
                        <a:pt x="682" y="668"/>
                        <a:pt x="656" y="695"/>
                        <a:pt x="609" y="695"/>
                      </a:cubicBezTo>
                      <a:cubicBezTo>
                        <a:pt x="584" y="695"/>
                        <a:pt x="564" y="684"/>
                        <a:pt x="547" y="667"/>
                      </a:cubicBezTo>
                      <a:cubicBezTo>
                        <a:pt x="483" y="603"/>
                        <a:pt x="419" y="538"/>
                        <a:pt x="354" y="473"/>
                      </a:cubicBezTo>
                      <a:cubicBezTo>
                        <a:pt x="348" y="478"/>
                        <a:pt x="342" y="483"/>
                        <a:pt x="337" y="488"/>
                      </a:cubicBezTo>
                      <a:cubicBezTo>
                        <a:pt x="277" y="548"/>
                        <a:pt x="217" y="609"/>
                        <a:pt x="156" y="669"/>
                      </a:cubicBezTo>
                      <a:cubicBezTo>
                        <a:pt x="131" y="694"/>
                        <a:pt x="100" y="701"/>
                        <a:pt x="66" y="690"/>
                      </a:cubicBezTo>
                      <a:cubicBezTo>
                        <a:pt x="33" y="678"/>
                        <a:pt x="14" y="653"/>
                        <a:pt x="10" y="618"/>
                      </a:cubicBezTo>
                      <a:cubicBezTo>
                        <a:pt x="7" y="590"/>
                        <a:pt x="17" y="566"/>
                        <a:pt x="37" y="546"/>
                      </a:cubicBezTo>
                      <a:cubicBezTo>
                        <a:pt x="86" y="498"/>
                        <a:pt x="134" y="450"/>
                        <a:pt x="182" y="401"/>
                      </a:cubicBezTo>
                      <a:cubicBezTo>
                        <a:pt x="199" y="384"/>
                        <a:pt x="216" y="368"/>
                        <a:pt x="235" y="354"/>
                      </a:cubicBezTo>
                      <a:cubicBezTo>
                        <a:pt x="188" y="307"/>
                        <a:pt x="145" y="264"/>
                        <a:pt x="101" y="221"/>
                      </a:cubicBezTo>
                      <a:cubicBezTo>
                        <a:pt x="80" y="200"/>
                        <a:pt x="58" y="178"/>
                        <a:pt x="36" y="156"/>
                      </a:cubicBezTo>
                      <a:cubicBezTo>
                        <a:pt x="1" y="120"/>
                        <a:pt x="0" y="68"/>
                        <a:pt x="34" y="34"/>
                      </a:cubicBezTo>
                      <a:cubicBezTo>
                        <a:pt x="68" y="0"/>
                        <a:pt x="121" y="0"/>
                        <a:pt x="157" y="36"/>
                      </a:cubicBezTo>
                      <a:cubicBezTo>
                        <a:pt x="217" y="95"/>
                        <a:pt x="276" y="155"/>
                        <a:pt x="335" y="214"/>
                      </a:cubicBezTo>
                      <a:cubicBezTo>
                        <a:pt x="340" y="219"/>
                        <a:pt x="345" y="225"/>
                        <a:pt x="350" y="232"/>
                      </a:cubicBezTo>
                      <a:cubicBezTo>
                        <a:pt x="358" y="225"/>
                        <a:pt x="363" y="221"/>
                        <a:pt x="368" y="216"/>
                      </a:cubicBezTo>
                      <a:cubicBezTo>
                        <a:pt x="426" y="158"/>
                        <a:pt x="486" y="101"/>
                        <a:pt x="542" y="41"/>
                      </a:cubicBezTo>
                      <a:cubicBezTo>
                        <a:pt x="560" y="21"/>
                        <a:pt x="588" y="8"/>
                        <a:pt x="615" y="10"/>
                      </a:cubicBezTo>
                      <a:cubicBezTo>
                        <a:pt x="634" y="11"/>
                        <a:pt x="655" y="17"/>
                        <a:pt x="669" y="30"/>
                      </a:cubicBezTo>
                      <a:cubicBezTo>
                        <a:pt x="686" y="45"/>
                        <a:pt x="695" y="71"/>
                        <a:pt x="695" y="93"/>
                      </a:cubicBezTo>
                      <a:cubicBezTo>
                        <a:pt x="696" y="121"/>
                        <a:pt x="674" y="150"/>
                        <a:pt x="655" y="170"/>
                      </a:cubicBezTo>
                      <a:cubicBezTo>
                        <a:pt x="600" y="226"/>
                        <a:pt x="544" y="281"/>
                        <a:pt x="489" y="337"/>
                      </a:cubicBezTo>
                      <a:cubicBezTo>
                        <a:pt x="484" y="341"/>
                        <a:pt x="479" y="347"/>
                        <a:pt x="474" y="353"/>
                      </a:cubicBezTo>
                      <a:cubicBezTo>
                        <a:pt x="533" y="411"/>
                        <a:pt x="591" y="468"/>
                        <a:pt x="647" y="526"/>
                      </a:cubicBezTo>
                      <a:cubicBezTo>
                        <a:pt x="666" y="545"/>
                        <a:pt x="680" y="569"/>
                        <a:pt x="696" y="590"/>
                      </a:cubicBezTo>
                      <a:cubicBezTo>
                        <a:pt x="696" y="602"/>
                        <a:pt x="696" y="614"/>
                        <a:pt x="696" y="6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9" name="Freeform 7">
                  <a:extLst>
                    <a:ext uri="{FF2B5EF4-FFF2-40B4-BE49-F238E27FC236}">
                      <a16:creationId xmlns:a16="http://schemas.microsoft.com/office/drawing/2014/main" id="{DD9C770D-14FF-4A39-B4C0-111F496F0052}"/>
                    </a:ext>
                  </a:extLst>
                </p:cNvPr>
                <p:cNvSpPr>
                  <a:spLocks noEditPoints="1"/>
                </p:cNvSpPr>
                <p:nvPr/>
              </p:nvSpPr>
              <p:spPr bwMode="auto">
                <a:xfrm>
                  <a:off x="1943" y="1023"/>
                  <a:ext cx="1829" cy="1829"/>
                </a:xfrm>
                <a:custGeom>
                  <a:avLst/>
                  <a:gdLst>
                    <a:gd name="T0" fmla="*/ 343 w 685"/>
                    <a:gd name="T1" fmla="*/ 1 h 684"/>
                    <a:gd name="T2" fmla="*/ 684 w 685"/>
                    <a:gd name="T3" fmla="*/ 345 h 684"/>
                    <a:gd name="T4" fmla="*/ 342 w 685"/>
                    <a:gd name="T5" fmla="*/ 683 h 684"/>
                    <a:gd name="T6" fmla="*/ 1 w 685"/>
                    <a:gd name="T7" fmla="*/ 340 h 684"/>
                    <a:gd name="T8" fmla="*/ 343 w 685"/>
                    <a:gd name="T9" fmla="*/ 1 h 684"/>
                    <a:gd name="T10" fmla="*/ 513 w 685"/>
                    <a:gd name="T11" fmla="*/ 343 h 684"/>
                    <a:gd name="T12" fmla="*/ 344 w 685"/>
                    <a:gd name="T13" fmla="*/ 171 h 684"/>
                    <a:gd name="T14" fmla="*/ 172 w 685"/>
                    <a:gd name="T15" fmla="*/ 340 h 684"/>
                    <a:gd name="T16" fmla="*/ 342 w 685"/>
                    <a:gd name="T17" fmla="*/ 513 h 684"/>
                    <a:gd name="T18" fmla="*/ 513 w 685"/>
                    <a:gd name="T19" fmla="*/ 343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5" h="684">
                      <a:moveTo>
                        <a:pt x="343" y="1"/>
                      </a:moveTo>
                      <a:cubicBezTo>
                        <a:pt x="533" y="1"/>
                        <a:pt x="685" y="154"/>
                        <a:pt x="684" y="345"/>
                      </a:cubicBezTo>
                      <a:cubicBezTo>
                        <a:pt x="683" y="531"/>
                        <a:pt x="529" y="684"/>
                        <a:pt x="342" y="683"/>
                      </a:cubicBezTo>
                      <a:cubicBezTo>
                        <a:pt x="153" y="682"/>
                        <a:pt x="0" y="529"/>
                        <a:pt x="1" y="340"/>
                      </a:cubicBezTo>
                      <a:cubicBezTo>
                        <a:pt x="2" y="153"/>
                        <a:pt x="155" y="0"/>
                        <a:pt x="343" y="1"/>
                      </a:cubicBezTo>
                      <a:close/>
                      <a:moveTo>
                        <a:pt x="513" y="343"/>
                      </a:moveTo>
                      <a:cubicBezTo>
                        <a:pt x="513" y="248"/>
                        <a:pt x="438" y="172"/>
                        <a:pt x="344" y="171"/>
                      </a:cubicBezTo>
                      <a:cubicBezTo>
                        <a:pt x="250" y="170"/>
                        <a:pt x="173" y="247"/>
                        <a:pt x="172" y="340"/>
                      </a:cubicBezTo>
                      <a:cubicBezTo>
                        <a:pt x="171" y="435"/>
                        <a:pt x="248" y="512"/>
                        <a:pt x="342" y="513"/>
                      </a:cubicBezTo>
                      <a:cubicBezTo>
                        <a:pt x="436" y="513"/>
                        <a:pt x="513" y="437"/>
                        <a:pt x="513" y="3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sp>
            <p:nvSpPr>
              <p:cNvPr id="186" name="Freeform 11">
                <a:extLst>
                  <a:ext uri="{FF2B5EF4-FFF2-40B4-BE49-F238E27FC236}">
                    <a16:creationId xmlns:a16="http://schemas.microsoft.com/office/drawing/2014/main" id="{69874BC4-B60B-41CE-A4F4-40100940EBA3}"/>
                  </a:ext>
                </a:extLst>
              </p:cNvPr>
              <p:cNvSpPr>
                <a:spLocks noEditPoints="1"/>
              </p:cNvSpPr>
              <p:nvPr/>
            </p:nvSpPr>
            <p:spPr bwMode="auto">
              <a:xfrm>
                <a:off x="10390230" y="4787714"/>
                <a:ext cx="235710" cy="237642"/>
              </a:xfrm>
              <a:custGeom>
                <a:avLst/>
                <a:gdLst>
                  <a:gd name="T0" fmla="*/ 0 w 1204"/>
                  <a:gd name="T1" fmla="*/ 351 h 1299"/>
                  <a:gd name="T2" fmla="*/ 124 w 1204"/>
                  <a:gd name="T3" fmla="*/ 296 h 1299"/>
                  <a:gd name="T4" fmla="*/ 748 w 1204"/>
                  <a:gd name="T5" fmla="*/ 6 h 1299"/>
                  <a:gd name="T6" fmla="*/ 764 w 1204"/>
                  <a:gd name="T7" fmla="*/ 0 h 1299"/>
                  <a:gd name="T8" fmla="*/ 774 w 1204"/>
                  <a:gd name="T9" fmla="*/ 15 h 1299"/>
                  <a:gd name="T10" fmla="*/ 1204 w 1204"/>
                  <a:gd name="T11" fmla="*/ 945 h 1299"/>
                  <a:gd name="T12" fmla="*/ 441 w 1204"/>
                  <a:gd name="T13" fmla="*/ 1299 h 1299"/>
                  <a:gd name="T14" fmla="*/ 430 w 1204"/>
                  <a:gd name="T15" fmla="*/ 1277 h 1299"/>
                  <a:gd name="T16" fmla="*/ 13 w 1204"/>
                  <a:gd name="T17" fmla="*/ 377 h 1299"/>
                  <a:gd name="T18" fmla="*/ 0 w 1204"/>
                  <a:gd name="T19" fmla="*/ 355 h 1299"/>
                  <a:gd name="T20" fmla="*/ 0 w 1204"/>
                  <a:gd name="T21" fmla="*/ 351 h 1299"/>
                  <a:gd name="T22" fmla="*/ 696 w 1204"/>
                  <a:gd name="T23" fmla="*/ 369 h 1299"/>
                  <a:gd name="T24" fmla="*/ 705 w 1204"/>
                  <a:gd name="T25" fmla="*/ 188 h 1299"/>
                  <a:gd name="T26" fmla="*/ 683 w 1204"/>
                  <a:gd name="T27" fmla="*/ 166 h 1299"/>
                  <a:gd name="T28" fmla="*/ 456 w 1204"/>
                  <a:gd name="T29" fmla="*/ 204 h 1299"/>
                  <a:gd name="T30" fmla="*/ 272 w 1204"/>
                  <a:gd name="T31" fmla="*/ 346 h 1299"/>
                  <a:gd name="T32" fmla="*/ 278 w 1204"/>
                  <a:gd name="T33" fmla="*/ 647 h 1299"/>
                  <a:gd name="T34" fmla="*/ 435 w 1204"/>
                  <a:gd name="T35" fmla="*/ 758 h 1299"/>
                  <a:gd name="T36" fmla="*/ 541 w 1204"/>
                  <a:gd name="T37" fmla="*/ 754 h 1299"/>
                  <a:gd name="T38" fmla="*/ 698 w 1204"/>
                  <a:gd name="T39" fmla="*/ 740 h 1299"/>
                  <a:gd name="T40" fmla="*/ 759 w 1204"/>
                  <a:gd name="T41" fmla="*/ 786 h 1299"/>
                  <a:gd name="T42" fmla="*/ 711 w 1204"/>
                  <a:gd name="T43" fmla="*/ 891 h 1299"/>
                  <a:gd name="T44" fmla="*/ 512 w 1204"/>
                  <a:gd name="T45" fmla="*/ 916 h 1299"/>
                  <a:gd name="T46" fmla="*/ 471 w 1204"/>
                  <a:gd name="T47" fmla="*/ 907 h 1299"/>
                  <a:gd name="T48" fmla="*/ 468 w 1204"/>
                  <a:gd name="T49" fmla="*/ 913 h 1299"/>
                  <a:gd name="T50" fmla="*/ 457 w 1204"/>
                  <a:gd name="T51" fmla="*/ 1108 h 1299"/>
                  <a:gd name="T52" fmla="*/ 473 w 1204"/>
                  <a:gd name="T53" fmla="*/ 1123 h 1299"/>
                  <a:gd name="T54" fmla="*/ 799 w 1204"/>
                  <a:gd name="T55" fmla="*/ 1072 h 1299"/>
                  <a:gd name="T56" fmla="*/ 944 w 1204"/>
                  <a:gd name="T57" fmla="*/ 958 h 1299"/>
                  <a:gd name="T58" fmla="*/ 948 w 1204"/>
                  <a:gd name="T59" fmla="*/ 611 h 1299"/>
                  <a:gd name="T60" fmla="*/ 764 w 1204"/>
                  <a:gd name="T61" fmla="*/ 507 h 1299"/>
                  <a:gd name="T62" fmla="*/ 609 w 1204"/>
                  <a:gd name="T63" fmla="*/ 520 h 1299"/>
                  <a:gd name="T64" fmla="*/ 520 w 1204"/>
                  <a:gd name="T65" fmla="*/ 521 h 1299"/>
                  <a:gd name="T66" fmla="*/ 477 w 1204"/>
                  <a:gd name="T67" fmla="*/ 437 h 1299"/>
                  <a:gd name="T68" fmla="*/ 514 w 1204"/>
                  <a:gd name="T69" fmla="*/ 394 h 1299"/>
                  <a:gd name="T70" fmla="*/ 606 w 1204"/>
                  <a:gd name="T71" fmla="*/ 364 h 1299"/>
                  <a:gd name="T72" fmla="*/ 696 w 1204"/>
                  <a:gd name="T73" fmla="*/ 36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4" h="1299">
                    <a:moveTo>
                      <a:pt x="0" y="351"/>
                    </a:moveTo>
                    <a:cubicBezTo>
                      <a:pt x="41" y="333"/>
                      <a:pt x="83" y="315"/>
                      <a:pt x="124" y="296"/>
                    </a:cubicBezTo>
                    <a:cubicBezTo>
                      <a:pt x="332" y="199"/>
                      <a:pt x="540" y="103"/>
                      <a:pt x="748" y="6"/>
                    </a:cubicBezTo>
                    <a:cubicBezTo>
                      <a:pt x="753" y="4"/>
                      <a:pt x="758" y="2"/>
                      <a:pt x="764" y="0"/>
                    </a:cubicBezTo>
                    <a:cubicBezTo>
                      <a:pt x="768" y="5"/>
                      <a:pt x="771" y="10"/>
                      <a:pt x="774" y="15"/>
                    </a:cubicBezTo>
                    <a:cubicBezTo>
                      <a:pt x="871" y="226"/>
                      <a:pt x="1194" y="923"/>
                      <a:pt x="1204" y="945"/>
                    </a:cubicBezTo>
                    <a:cubicBezTo>
                      <a:pt x="949" y="1063"/>
                      <a:pt x="696" y="1181"/>
                      <a:pt x="441" y="1299"/>
                    </a:cubicBezTo>
                    <a:cubicBezTo>
                      <a:pt x="437" y="1291"/>
                      <a:pt x="433" y="1284"/>
                      <a:pt x="430" y="1277"/>
                    </a:cubicBezTo>
                    <a:cubicBezTo>
                      <a:pt x="291" y="977"/>
                      <a:pt x="152" y="677"/>
                      <a:pt x="13" y="377"/>
                    </a:cubicBezTo>
                    <a:cubicBezTo>
                      <a:pt x="10" y="369"/>
                      <a:pt x="4" y="362"/>
                      <a:pt x="0" y="355"/>
                    </a:cubicBezTo>
                    <a:cubicBezTo>
                      <a:pt x="0" y="354"/>
                      <a:pt x="0" y="352"/>
                      <a:pt x="0" y="351"/>
                    </a:cubicBezTo>
                    <a:close/>
                    <a:moveTo>
                      <a:pt x="696" y="369"/>
                    </a:moveTo>
                    <a:cubicBezTo>
                      <a:pt x="699" y="308"/>
                      <a:pt x="701" y="248"/>
                      <a:pt x="705" y="188"/>
                    </a:cubicBezTo>
                    <a:cubicBezTo>
                      <a:pt x="706" y="171"/>
                      <a:pt x="700" y="166"/>
                      <a:pt x="683" y="166"/>
                    </a:cubicBezTo>
                    <a:cubicBezTo>
                      <a:pt x="605" y="165"/>
                      <a:pt x="529" y="177"/>
                      <a:pt x="456" y="204"/>
                    </a:cubicBezTo>
                    <a:cubicBezTo>
                      <a:pt x="380" y="232"/>
                      <a:pt x="313" y="274"/>
                      <a:pt x="272" y="346"/>
                    </a:cubicBezTo>
                    <a:cubicBezTo>
                      <a:pt x="214" y="447"/>
                      <a:pt x="225" y="548"/>
                      <a:pt x="278" y="647"/>
                    </a:cubicBezTo>
                    <a:cubicBezTo>
                      <a:pt x="312" y="709"/>
                      <a:pt x="362" y="753"/>
                      <a:pt x="435" y="758"/>
                    </a:cubicBezTo>
                    <a:cubicBezTo>
                      <a:pt x="470" y="760"/>
                      <a:pt x="506" y="756"/>
                      <a:pt x="541" y="754"/>
                    </a:cubicBezTo>
                    <a:cubicBezTo>
                      <a:pt x="593" y="750"/>
                      <a:pt x="645" y="743"/>
                      <a:pt x="698" y="740"/>
                    </a:cubicBezTo>
                    <a:cubicBezTo>
                      <a:pt x="728" y="739"/>
                      <a:pt x="749" y="757"/>
                      <a:pt x="759" y="786"/>
                    </a:cubicBezTo>
                    <a:cubicBezTo>
                      <a:pt x="773" y="825"/>
                      <a:pt x="755" y="865"/>
                      <a:pt x="711" y="891"/>
                    </a:cubicBezTo>
                    <a:cubicBezTo>
                      <a:pt x="649" y="929"/>
                      <a:pt x="581" y="929"/>
                      <a:pt x="512" y="916"/>
                    </a:cubicBezTo>
                    <a:cubicBezTo>
                      <a:pt x="498" y="913"/>
                      <a:pt x="484" y="910"/>
                      <a:pt x="471" y="907"/>
                    </a:cubicBezTo>
                    <a:cubicBezTo>
                      <a:pt x="469" y="911"/>
                      <a:pt x="468" y="912"/>
                      <a:pt x="468" y="913"/>
                    </a:cubicBezTo>
                    <a:cubicBezTo>
                      <a:pt x="464" y="978"/>
                      <a:pt x="460" y="1043"/>
                      <a:pt x="457" y="1108"/>
                    </a:cubicBezTo>
                    <a:cubicBezTo>
                      <a:pt x="457" y="1113"/>
                      <a:pt x="467" y="1122"/>
                      <a:pt x="473" y="1123"/>
                    </a:cubicBezTo>
                    <a:cubicBezTo>
                      <a:pt x="587" y="1139"/>
                      <a:pt x="696" y="1124"/>
                      <a:pt x="799" y="1072"/>
                    </a:cubicBezTo>
                    <a:cubicBezTo>
                      <a:pt x="855" y="1044"/>
                      <a:pt x="905" y="1008"/>
                      <a:pt x="944" y="958"/>
                    </a:cubicBezTo>
                    <a:cubicBezTo>
                      <a:pt x="1023" y="854"/>
                      <a:pt x="1016" y="730"/>
                      <a:pt x="948" y="611"/>
                    </a:cubicBezTo>
                    <a:cubicBezTo>
                      <a:pt x="907" y="541"/>
                      <a:pt x="843" y="507"/>
                      <a:pt x="764" y="507"/>
                    </a:cubicBezTo>
                    <a:cubicBezTo>
                      <a:pt x="712" y="507"/>
                      <a:pt x="661" y="516"/>
                      <a:pt x="609" y="520"/>
                    </a:cubicBezTo>
                    <a:cubicBezTo>
                      <a:pt x="579" y="522"/>
                      <a:pt x="549" y="525"/>
                      <a:pt x="520" y="521"/>
                    </a:cubicBezTo>
                    <a:cubicBezTo>
                      <a:pt x="477" y="515"/>
                      <a:pt x="458" y="475"/>
                      <a:pt x="477" y="437"/>
                    </a:cubicBezTo>
                    <a:cubicBezTo>
                      <a:pt x="486" y="420"/>
                      <a:pt x="499" y="405"/>
                      <a:pt x="514" y="394"/>
                    </a:cubicBezTo>
                    <a:cubicBezTo>
                      <a:pt x="541" y="374"/>
                      <a:pt x="573" y="364"/>
                      <a:pt x="606" y="364"/>
                    </a:cubicBezTo>
                    <a:cubicBezTo>
                      <a:pt x="635" y="364"/>
                      <a:pt x="664" y="367"/>
                      <a:pt x="696" y="369"/>
                    </a:cubicBezTo>
                    <a:close/>
                  </a:path>
                </a:pathLst>
              </a:custGeom>
              <a:solidFill>
                <a:srgbClr val="D83B01"/>
              </a:solidFill>
              <a:ln>
                <a:noFill/>
              </a:ln>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nvGrpSpPr>
              <p:cNvPr id="187" name="Group 14">
                <a:extLst>
                  <a:ext uri="{FF2B5EF4-FFF2-40B4-BE49-F238E27FC236}">
                    <a16:creationId xmlns:a16="http://schemas.microsoft.com/office/drawing/2014/main" id="{72C6DF0F-2485-432F-AF4E-1ABA48A4DCEB}"/>
                  </a:ext>
                </a:extLst>
              </p:cNvPr>
              <p:cNvGrpSpPr>
                <a:grpSpLocks noChangeAspect="1"/>
              </p:cNvGrpSpPr>
              <p:nvPr/>
            </p:nvGrpSpPr>
            <p:grpSpPr bwMode="auto">
              <a:xfrm>
                <a:off x="11154381" y="4496937"/>
                <a:ext cx="256714" cy="222386"/>
                <a:chOff x="-7" y="-7"/>
                <a:chExt cx="4004" cy="3712"/>
              </a:xfrm>
              <a:solidFill>
                <a:srgbClr val="D83B01"/>
              </a:solidFill>
            </p:grpSpPr>
            <p:sp>
              <p:nvSpPr>
                <p:cNvPr id="222" name="Freeform 15">
                  <a:extLst>
                    <a:ext uri="{FF2B5EF4-FFF2-40B4-BE49-F238E27FC236}">
                      <a16:creationId xmlns:a16="http://schemas.microsoft.com/office/drawing/2014/main" id="{4B1A767C-6FA2-49B4-B827-4F90A6B8A5C1}"/>
                    </a:ext>
                  </a:extLst>
                </p:cNvPr>
                <p:cNvSpPr>
                  <a:spLocks/>
                </p:cNvSpPr>
                <p:nvPr/>
              </p:nvSpPr>
              <p:spPr bwMode="auto">
                <a:xfrm>
                  <a:off x="1994" y="-7"/>
                  <a:ext cx="1989" cy="1427"/>
                </a:xfrm>
                <a:custGeom>
                  <a:avLst/>
                  <a:gdLst>
                    <a:gd name="T0" fmla="*/ 422 w 745"/>
                    <a:gd name="T1" fmla="*/ 519 h 534"/>
                    <a:gd name="T2" fmla="*/ 123 w 745"/>
                    <a:gd name="T3" fmla="*/ 334 h 534"/>
                    <a:gd name="T4" fmla="*/ 12 w 745"/>
                    <a:gd name="T5" fmla="*/ 265 h 534"/>
                    <a:gd name="T6" fmla="*/ 10 w 745"/>
                    <a:gd name="T7" fmla="*/ 246 h 534"/>
                    <a:gd name="T8" fmla="*/ 295 w 745"/>
                    <a:gd name="T9" fmla="*/ 8 h 534"/>
                    <a:gd name="T10" fmla="*/ 320 w 745"/>
                    <a:gd name="T11" fmla="*/ 8 h 534"/>
                    <a:gd name="T12" fmla="*/ 597 w 745"/>
                    <a:gd name="T13" fmla="*/ 189 h 534"/>
                    <a:gd name="T14" fmla="*/ 732 w 745"/>
                    <a:gd name="T15" fmla="*/ 277 h 534"/>
                    <a:gd name="T16" fmla="*/ 732 w 745"/>
                    <a:gd name="T17" fmla="*/ 298 h 534"/>
                    <a:gd name="T18" fmla="*/ 446 w 745"/>
                    <a:gd name="T19" fmla="*/ 528 h 534"/>
                    <a:gd name="T20" fmla="*/ 422 w 745"/>
                    <a:gd name="T21" fmla="*/ 519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5" h="534">
                      <a:moveTo>
                        <a:pt x="422" y="519"/>
                      </a:moveTo>
                      <a:cubicBezTo>
                        <a:pt x="322" y="458"/>
                        <a:pt x="223" y="396"/>
                        <a:pt x="123" y="334"/>
                      </a:cubicBezTo>
                      <a:cubicBezTo>
                        <a:pt x="86" y="311"/>
                        <a:pt x="49" y="288"/>
                        <a:pt x="12" y="265"/>
                      </a:cubicBezTo>
                      <a:cubicBezTo>
                        <a:pt x="1" y="259"/>
                        <a:pt x="0" y="255"/>
                        <a:pt x="10" y="246"/>
                      </a:cubicBezTo>
                      <a:cubicBezTo>
                        <a:pt x="106" y="167"/>
                        <a:pt x="201" y="87"/>
                        <a:pt x="295" y="8"/>
                      </a:cubicBezTo>
                      <a:cubicBezTo>
                        <a:pt x="305" y="0"/>
                        <a:pt x="311" y="2"/>
                        <a:pt x="320" y="8"/>
                      </a:cubicBezTo>
                      <a:cubicBezTo>
                        <a:pt x="412" y="68"/>
                        <a:pt x="504" y="129"/>
                        <a:pt x="597" y="189"/>
                      </a:cubicBezTo>
                      <a:cubicBezTo>
                        <a:pt x="642" y="219"/>
                        <a:pt x="686" y="249"/>
                        <a:pt x="732" y="277"/>
                      </a:cubicBezTo>
                      <a:cubicBezTo>
                        <a:pt x="745" y="285"/>
                        <a:pt x="743" y="289"/>
                        <a:pt x="732" y="298"/>
                      </a:cubicBezTo>
                      <a:cubicBezTo>
                        <a:pt x="637" y="374"/>
                        <a:pt x="542" y="451"/>
                        <a:pt x="446" y="528"/>
                      </a:cubicBezTo>
                      <a:cubicBezTo>
                        <a:pt x="435" y="534"/>
                        <a:pt x="429" y="525"/>
                        <a:pt x="422" y="5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3" name="Freeform 16">
                  <a:extLst>
                    <a:ext uri="{FF2B5EF4-FFF2-40B4-BE49-F238E27FC236}">
                      <a16:creationId xmlns:a16="http://schemas.microsoft.com/office/drawing/2014/main" id="{9D037635-DBFD-4856-8953-A87B395C6DF6}"/>
                    </a:ext>
                  </a:extLst>
                </p:cNvPr>
                <p:cNvSpPr>
                  <a:spLocks/>
                </p:cNvSpPr>
                <p:nvPr/>
              </p:nvSpPr>
              <p:spPr bwMode="auto">
                <a:xfrm>
                  <a:off x="-7" y="-4"/>
                  <a:ext cx="2001" cy="1411"/>
                </a:xfrm>
                <a:custGeom>
                  <a:avLst/>
                  <a:gdLst>
                    <a:gd name="T0" fmla="*/ 300 w 749"/>
                    <a:gd name="T1" fmla="*/ 526 h 528"/>
                    <a:gd name="T2" fmla="*/ 67 w 749"/>
                    <a:gd name="T3" fmla="*/ 341 h 528"/>
                    <a:gd name="T4" fmla="*/ 11 w 749"/>
                    <a:gd name="T5" fmla="*/ 296 h 528"/>
                    <a:gd name="T6" fmla="*/ 12 w 749"/>
                    <a:gd name="T7" fmla="*/ 277 h 528"/>
                    <a:gd name="T8" fmla="*/ 315 w 749"/>
                    <a:gd name="T9" fmla="*/ 79 h 528"/>
                    <a:gd name="T10" fmla="*/ 425 w 749"/>
                    <a:gd name="T11" fmla="*/ 7 h 528"/>
                    <a:gd name="T12" fmla="*/ 451 w 749"/>
                    <a:gd name="T13" fmla="*/ 8 h 528"/>
                    <a:gd name="T14" fmla="*/ 662 w 749"/>
                    <a:gd name="T15" fmla="*/ 185 h 528"/>
                    <a:gd name="T16" fmla="*/ 731 w 749"/>
                    <a:gd name="T17" fmla="*/ 241 h 528"/>
                    <a:gd name="T18" fmla="*/ 728 w 749"/>
                    <a:gd name="T19" fmla="*/ 268 h 528"/>
                    <a:gd name="T20" fmla="*/ 601 w 749"/>
                    <a:gd name="T21" fmla="*/ 346 h 528"/>
                    <a:gd name="T22" fmla="*/ 319 w 749"/>
                    <a:gd name="T23" fmla="*/ 520 h 528"/>
                    <a:gd name="T24" fmla="*/ 307 w 749"/>
                    <a:gd name="T25" fmla="*/ 526 h 528"/>
                    <a:gd name="T26" fmla="*/ 300 w 749"/>
                    <a:gd name="T27" fmla="*/ 526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9" h="528">
                      <a:moveTo>
                        <a:pt x="300" y="526"/>
                      </a:moveTo>
                      <a:cubicBezTo>
                        <a:pt x="222" y="464"/>
                        <a:pt x="145" y="402"/>
                        <a:pt x="67" y="341"/>
                      </a:cubicBezTo>
                      <a:cubicBezTo>
                        <a:pt x="49" y="326"/>
                        <a:pt x="30" y="310"/>
                        <a:pt x="11" y="296"/>
                      </a:cubicBezTo>
                      <a:cubicBezTo>
                        <a:pt x="0" y="288"/>
                        <a:pt x="1" y="284"/>
                        <a:pt x="12" y="277"/>
                      </a:cubicBezTo>
                      <a:cubicBezTo>
                        <a:pt x="114" y="211"/>
                        <a:pt x="214" y="145"/>
                        <a:pt x="315" y="79"/>
                      </a:cubicBezTo>
                      <a:cubicBezTo>
                        <a:pt x="352" y="55"/>
                        <a:pt x="389" y="31"/>
                        <a:pt x="425" y="7"/>
                      </a:cubicBezTo>
                      <a:cubicBezTo>
                        <a:pt x="435" y="0"/>
                        <a:pt x="441" y="0"/>
                        <a:pt x="451" y="8"/>
                      </a:cubicBezTo>
                      <a:cubicBezTo>
                        <a:pt x="521" y="67"/>
                        <a:pt x="592" y="126"/>
                        <a:pt x="662" y="185"/>
                      </a:cubicBezTo>
                      <a:cubicBezTo>
                        <a:pt x="685" y="204"/>
                        <a:pt x="707" y="224"/>
                        <a:pt x="731" y="241"/>
                      </a:cubicBezTo>
                      <a:cubicBezTo>
                        <a:pt x="749" y="255"/>
                        <a:pt x="739" y="261"/>
                        <a:pt x="728" y="268"/>
                      </a:cubicBezTo>
                      <a:cubicBezTo>
                        <a:pt x="685" y="294"/>
                        <a:pt x="643" y="320"/>
                        <a:pt x="601" y="346"/>
                      </a:cubicBezTo>
                      <a:cubicBezTo>
                        <a:pt x="507" y="404"/>
                        <a:pt x="413" y="462"/>
                        <a:pt x="319" y="520"/>
                      </a:cubicBezTo>
                      <a:cubicBezTo>
                        <a:pt x="315" y="522"/>
                        <a:pt x="311" y="524"/>
                        <a:pt x="307" y="526"/>
                      </a:cubicBezTo>
                      <a:cubicBezTo>
                        <a:pt x="304" y="528"/>
                        <a:pt x="302" y="528"/>
                        <a:pt x="300" y="5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4" name="Freeform 17">
                  <a:extLst>
                    <a:ext uri="{FF2B5EF4-FFF2-40B4-BE49-F238E27FC236}">
                      <a16:creationId xmlns:a16="http://schemas.microsoft.com/office/drawing/2014/main" id="{BA96D5EB-DE41-4F1F-862C-6A4D6140D1F4}"/>
                    </a:ext>
                  </a:extLst>
                </p:cNvPr>
                <p:cNvSpPr>
                  <a:spLocks/>
                </p:cNvSpPr>
                <p:nvPr/>
              </p:nvSpPr>
              <p:spPr bwMode="auto">
                <a:xfrm>
                  <a:off x="2018" y="1404"/>
                  <a:ext cx="1979" cy="1435"/>
                </a:xfrm>
                <a:custGeom>
                  <a:avLst/>
                  <a:gdLst>
                    <a:gd name="T0" fmla="*/ 437 w 741"/>
                    <a:gd name="T1" fmla="*/ 6 h 537"/>
                    <a:gd name="T2" fmla="*/ 718 w 741"/>
                    <a:gd name="T3" fmla="*/ 225 h 537"/>
                    <a:gd name="T4" fmla="*/ 718 w 741"/>
                    <a:gd name="T5" fmla="*/ 264 h 537"/>
                    <a:gd name="T6" fmla="*/ 541 w 741"/>
                    <a:gd name="T7" fmla="*/ 380 h 537"/>
                    <a:gd name="T8" fmla="*/ 402 w 741"/>
                    <a:gd name="T9" fmla="*/ 471 h 537"/>
                    <a:gd name="T10" fmla="*/ 317 w 741"/>
                    <a:gd name="T11" fmla="*/ 526 h 537"/>
                    <a:gd name="T12" fmla="*/ 277 w 741"/>
                    <a:gd name="T13" fmla="*/ 524 h 537"/>
                    <a:gd name="T14" fmla="*/ 14 w 741"/>
                    <a:gd name="T15" fmla="*/ 304 h 537"/>
                    <a:gd name="T16" fmla="*/ 1 w 741"/>
                    <a:gd name="T17" fmla="*/ 286 h 537"/>
                    <a:gd name="T18" fmla="*/ 12 w 741"/>
                    <a:gd name="T19" fmla="*/ 266 h 537"/>
                    <a:gd name="T20" fmla="*/ 272 w 741"/>
                    <a:gd name="T21" fmla="*/ 102 h 537"/>
                    <a:gd name="T22" fmla="*/ 421 w 741"/>
                    <a:gd name="T23" fmla="*/ 7 h 537"/>
                    <a:gd name="T24" fmla="*/ 437 w 741"/>
                    <a:gd name="T25" fmla="*/ 6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1" h="537">
                      <a:moveTo>
                        <a:pt x="437" y="6"/>
                      </a:moveTo>
                      <a:cubicBezTo>
                        <a:pt x="488" y="46"/>
                        <a:pt x="691" y="204"/>
                        <a:pt x="718" y="225"/>
                      </a:cubicBezTo>
                      <a:cubicBezTo>
                        <a:pt x="740" y="242"/>
                        <a:pt x="741" y="249"/>
                        <a:pt x="718" y="264"/>
                      </a:cubicBezTo>
                      <a:cubicBezTo>
                        <a:pt x="659" y="302"/>
                        <a:pt x="600" y="341"/>
                        <a:pt x="541" y="380"/>
                      </a:cubicBezTo>
                      <a:cubicBezTo>
                        <a:pt x="494" y="410"/>
                        <a:pt x="448" y="439"/>
                        <a:pt x="402" y="471"/>
                      </a:cubicBezTo>
                      <a:cubicBezTo>
                        <a:pt x="374" y="490"/>
                        <a:pt x="345" y="507"/>
                        <a:pt x="317" y="526"/>
                      </a:cubicBezTo>
                      <a:cubicBezTo>
                        <a:pt x="303" y="537"/>
                        <a:pt x="291" y="535"/>
                        <a:pt x="277" y="524"/>
                      </a:cubicBezTo>
                      <a:cubicBezTo>
                        <a:pt x="190" y="451"/>
                        <a:pt x="102" y="377"/>
                        <a:pt x="14" y="304"/>
                      </a:cubicBezTo>
                      <a:cubicBezTo>
                        <a:pt x="8" y="299"/>
                        <a:pt x="3" y="294"/>
                        <a:pt x="1" y="286"/>
                      </a:cubicBezTo>
                      <a:cubicBezTo>
                        <a:pt x="0" y="277"/>
                        <a:pt x="3" y="271"/>
                        <a:pt x="12" y="266"/>
                      </a:cubicBezTo>
                      <a:cubicBezTo>
                        <a:pt x="21" y="262"/>
                        <a:pt x="194" y="152"/>
                        <a:pt x="272" y="102"/>
                      </a:cubicBezTo>
                      <a:cubicBezTo>
                        <a:pt x="322" y="70"/>
                        <a:pt x="374" y="42"/>
                        <a:pt x="421" y="7"/>
                      </a:cubicBezTo>
                      <a:cubicBezTo>
                        <a:pt x="426" y="2"/>
                        <a:pt x="432" y="0"/>
                        <a:pt x="43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5" name="Freeform 18">
                  <a:extLst>
                    <a:ext uri="{FF2B5EF4-FFF2-40B4-BE49-F238E27FC236}">
                      <a16:creationId xmlns:a16="http://schemas.microsoft.com/office/drawing/2014/main" id="{7D9218CC-5EA9-4538-AFB7-09E1E8914AE5}"/>
                    </a:ext>
                  </a:extLst>
                </p:cNvPr>
                <p:cNvSpPr>
                  <a:spLocks/>
                </p:cNvSpPr>
                <p:nvPr/>
              </p:nvSpPr>
              <p:spPr bwMode="auto">
                <a:xfrm>
                  <a:off x="9" y="1401"/>
                  <a:ext cx="1955" cy="1428"/>
                </a:xfrm>
                <a:custGeom>
                  <a:avLst/>
                  <a:gdLst>
                    <a:gd name="T0" fmla="*/ 294 w 732"/>
                    <a:gd name="T1" fmla="*/ 0 h 534"/>
                    <a:gd name="T2" fmla="*/ 301 w 732"/>
                    <a:gd name="T3" fmla="*/ 0 h 534"/>
                    <a:gd name="T4" fmla="*/ 315 w 732"/>
                    <a:gd name="T5" fmla="*/ 14 h 534"/>
                    <a:gd name="T6" fmla="*/ 432 w 732"/>
                    <a:gd name="T7" fmla="*/ 87 h 534"/>
                    <a:gd name="T8" fmla="*/ 711 w 732"/>
                    <a:gd name="T9" fmla="*/ 259 h 534"/>
                    <a:gd name="T10" fmla="*/ 717 w 732"/>
                    <a:gd name="T11" fmla="*/ 264 h 534"/>
                    <a:gd name="T12" fmla="*/ 729 w 732"/>
                    <a:gd name="T13" fmla="*/ 287 h 534"/>
                    <a:gd name="T14" fmla="*/ 717 w 732"/>
                    <a:gd name="T15" fmla="*/ 304 h 534"/>
                    <a:gd name="T16" fmla="*/ 425 w 732"/>
                    <a:gd name="T17" fmla="*/ 532 h 534"/>
                    <a:gd name="T18" fmla="*/ 5 w 732"/>
                    <a:gd name="T19" fmla="*/ 255 h 534"/>
                    <a:gd name="T20" fmla="*/ 13 w 732"/>
                    <a:gd name="T21" fmla="*/ 232 h 534"/>
                    <a:gd name="T22" fmla="*/ 221 w 732"/>
                    <a:gd name="T23" fmla="*/ 64 h 534"/>
                    <a:gd name="T24" fmla="*/ 283 w 732"/>
                    <a:gd name="T25" fmla="*/ 15 h 534"/>
                    <a:gd name="T26" fmla="*/ 294 w 732"/>
                    <a:gd name="T27"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2" h="534">
                      <a:moveTo>
                        <a:pt x="294" y="0"/>
                      </a:moveTo>
                      <a:cubicBezTo>
                        <a:pt x="296" y="0"/>
                        <a:pt x="298" y="0"/>
                        <a:pt x="301" y="0"/>
                      </a:cubicBezTo>
                      <a:cubicBezTo>
                        <a:pt x="300" y="10"/>
                        <a:pt x="309" y="11"/>
                        <a:pt x="315" y="14"/>
                      </a:cubicBezTo>
                      <a:cubicBezTo>
                        <a:pt x="354" y="39"/>
                        <a:pt x="393" y="63"/>
                        <a:pt x="432" y="87"/>
                      </a:cubicBezTo>
                      <a:cubicBezTo>
                        <a:pt x="525" y="144"/>
                        <a:pt x="618" y="202"/>
                        <a:pt x="711" y="259"/>
                      </a:cubicBezTo>
                      <a:cubicBezTo>
                        <a:pt x="713" y="260"/>
                        <a:pt x="715" y="262"/>
                        <a:pt x="717" y="264"/>
                      </a:cubicBezTo>
                      <a:cubicBezTo>
                        <a:pt x="724" y="270"/>
                        <a:pt x="732" y="275"/>
                        <a:pt x="729" y="287"/>
                      </a:cubicBezTo>
                      <a:cubicBezTo>
                        <a:pt x="727" y="294"/>
                        <a:pt x="722" y="299"/>
                        <a:pt x="717" y="304"/>
                      </a:cubicBezTo>
                      <a:cubicBezTo>
                        <a:pt x="650" y="359"/>
                        <a:pt x="440" y="534"/>
                        <a:pt x="425" y="532"/>
                      </a:cubicBezTo>
                      <a:cubicBezTo>
                        <a:pt x="413" y="528"/>
                        <a:pt x="66" y="296"/>
                        <a:pt x="5" y="255"/>
                      </a:cubicBezTo>
                      <a:cubicBezTo>
                        <a:pt x="0" y="245"/>
                        <a:pt x="11" y="240"/>
                        <a:pt x="13" y="232"/>
                      </a:cubicBezTo>
                      <a:cubicBezTo>
                        <a:pt x="82" y="176"/>
                        <a:pt x="151" y="120"/>
                        <a:pt x="221" y="64"/>
                      </a:cubicBezTo>
                      <a:cubicBezTo>
                        <a:pt x="241" y="48"/>
                        <a:pt x="262" y="32"/>
                        <a:pt x="283" y="15"/>
                      </a:cubicBezTo>
                      <a:cubicBezTo>
                        <a:pt x="287" y="11"/>
                        <a:pt x="296" y="9"/>
                        <a:pt x="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6" name="Freeform 19">
                  <a:extLst>
                    <a:ext uri="{FF2B5EF4-FFF2-40B4-BE49-F238E27FC236}">
                      <a16:creationId xmlns:a16="http://schemas.microsoft.com/office/drawing/2014/main" id="{05D7105A-6B8F-4EB3-8D50-A4F0CE9A7D81}"/>
                    </a:ext>
                  </a:extLst>
                </p:cNvPr>
                <p:cNvSpPr>
                  <a:spLocks/>
                </p:cNvSpPr>
                <p:nvPr/>
              </p:nvSpPr>
              <p:spPr bwMode="auto">
                <a:xfrm>
                  <a:off x="816" y="2286"/>
                  <a:ext cx="2358" cy="1419"/>
                </a:xfrm>
                <a:custGeom>
                  <a:avLst/>
                  <a:gdLst>
                    <a:gd name="T0" fmla="*/ 875 w 883"/>
                    <a:gd name="T1" fmla="*/ 182 h 531"/>
                    <a:gd name="T2" fmla="*/ 830 w 883"/>
                    <a:gd name="T3" fmla="*/ 198 h 531"/>
                    <a:gd name="T4" fmla="*/ 770 w 883"/>
                    <a:gd name="T5" fmla="*/ 238 h 531"/>
                    <a:gd name="T6" fmla="*/ 732 w 883"/>
                    <a:gd name="T7" fmla="*/ 238 h 531"/>
                    <a:gd name="T8" fmla="*/ 459 w 883"/>
                    <a:gd name="T9" fmla="*/ 12 h 531"/>
                    <a:gd name="T10" fmla="*/ 444 w 883"/>
                    <a:gd name="T11" fmla="*/ 2 h 531"/>
                    <a:gd name="T12" fmla="*/ 444 w 883"/>
                    <a:gd name="T13" fmla="*/ 2 h 531"/>
                    <a:gd name="T14" fmla="*/ 420 w 883"/>
                    <a:gd name="T15" fmla="*/ 12 h 531"/>
                    <a:gd name="T16" fmla="*/ 148 w 883"/>
                    <a:gd name="T17" fmla="*/ 239 h 531"/>
                    <a:gd name="T18" fmla="*/ 113 w 883"/>
                    <a:gd name="T19" fmla="*/ 241 h 531"/>
                    <a:gd name="T20" fmla="*/ 30 w 883"/>
                    <a:gd name="T21" fmla="*/ 185 h 531"/>
                    <a:gd name="T22" fmla="*/ 5 w 883"/>
                    <a:gd name="T23" fmla="*/ 182 h 531"/>
                    <a:gd name="T24" fmla="*/ 1 w 883"/>
                    <a:gd name="T25" fmla="*/ 234 h 531"/>
                    <a:gd name="T26" fmla="*/ 9 w 883"/>
                    <a:gd name="T27" fmla="*/ 275 h 531"/>
                    <a:gd name="T28" fmla="*/ 28 w 883"/>
                    <a:gd name="T29" fmla="*/ 291 h 531"/>
                    <a:gd name="T30" fmla="*/ 161 w 883"/>
                    <a:gd name="T31" fmla="*/ 370 h 531"/>
                    <a:gd name="T32" fmla="*/ 239 w 883"/>
                    <a:gd name="T33" fmla="*/ 413 h 531"/>
                    <a:gd name="T34" fmla="*/ 426 w 883"/>
                    <a:gd name="T35" fmla="*/ 525 h 531"/>
                    <a:gd name="T36" fmla="*/ 444 w 883"/>
                    <a:gd name="T37" fmla="*/ 530 h 531"/>
                    <a:gd name="T38" fmla="*/ 444 w 883"/>
                    <a:gd name="T39" fmla="*/ 530 h 531"/>
                    <a:gd name="T40" fmla="*/ 446 w 883"/>
                    <a:gd name="T41" fmla="*/ 529 h 531"/>
                    <a:gd name="T42" fmla="*/ 448 w 883"/>
                    <a:gd name="T43" fmla="*/ 528 h 531"/>
                    <a:gd name="T44" fmla="*/ 449 w 883"/>
                    <a:gd name="T45" fmla="*/ 528 h 531"/>
                    <a:gd name="T46" fmla="*/ 454 w 883"/>
                    <a:gd name="T47" fmla="*/ 525 h 531"/>
                    <a:gd name="T48" fmla="*/ 641 w 883"/>
                    <a:gd name="T49" fmla="*/ 413 h 531"/>
                    <a:gd name="T50" fmla="*/ 719 w 883"/>
                    <a:gd name="T51" fmla="*/ 370 h 531"/>
                    <a:gd name="T52" fmla="*/ 799 w 883"/>
                    <a:gd name="T53" fmla="*/ 322 h 531"/>
                    <a:gd name="T54" fmla="*/ 810 w 883"/>
                    <a:gd name="T55" fmla="*/ 316 h 531"/>
                    <a:gd name="T56" fmla="*/ 852 w 883"/>
                    <a:gd name="T57" fmla="*/ 291 h 531"/>
                    <a:gd name="T58" fmla="*/ 870 w 883"/>
                    <a:gd name="T59" fmla="*/ 275 h 531"/>
                    <a:gd name="T60" fmla="*/ 879 w 883"/>
                    <a:gd name="T61" fmla="*/ 231 h 531"/>
                    <a:gd name="T62" fmla="*/ 875 w 883"/>
                    <a:gd name="T63" fmla="*/ 182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3" h="531">
                      <a:moveTo>
                        <a:pt x="875" y="182"/>
                      </a:moveTo>
                      <a:cubicBezTo>
                        <a:pt x="862" y="171"/>
                        <a:pt x="841" y="191"/>
                        <a:pt x="830" y="198"/>
                      </a:cubicBezTo>
                      <a:cubicBezTo>
                        <a:pt x="810" y="211"/>
                        <a:pt x="789" y="223"/>
                        <a:pt x="770" y="238"/>
                      </a:cubicBezTo>
                      <a:cubicBezTo>
                        <a:pt x="756" y="248"/>
                        <a:pt x="746" y="249"/>
                        <a:pt x="732" y="238"/>
                      </a:cubicBezTo>
                      <a:cubicBezTo>
                        <a:pt x="711" y="220"/>
                        <a:pt x="497" y="43"/>
                        <a:pt x="459" y="12"/>
                      </a:cubicBezTo>
                      <a:cubicBezTo>
                        <a:pt x="453" y="6"/>
                        <a:pt x="448" y="3"/>
                        <a:pt x="444" y="2"/>
                      </a:cubicBezTo>
                      <a:cubicBezTo>
                        <a:pt x="444" y="2"/>
                        <a:pt x="444" y="2"/>
                        <a:pt x="444" y="2"/>
                      </a:cubicBezTo>
                      <a:cubicBezTo>
                        <a:pt x="437" y="0"/>
                        <a:pt x="431" y="3"/>
                        <a:pt x="420" y="12"/>
                      </a:cubicBezTo>
                      <a:cubicBezTo>
                        <a:pt x="383" y="43"/>
                        <a:pt x="166" y="222"/>
                        <a:pt x="148" y="239"/>
                      </a:cubicBezTo>
                      <a:cubicBezTo>
                        <a:pt x="136" y="249"/>
                        <a:pt x="126" y="250"/>
                        <a:pt x="113" y="241"/>
                      </a:cubicBezTo>
                      <a:cubicBezTo>
                        <a:pt x="86" y="221"/>
                        <a:pt x="58" y="203"/>
                        <a:pt x="30" y="185"/>
                      </a:cubicBezTo>
                      <a:cubicBezTo>
                        <a:pt x="23" y="181"/>
                        <a:pt x="15" y="174"/>
                        <a:pt x="5" y="182"/>
                      </a:cubicBezTo>
                      <a:cubicBezTo>
                        <a:pt x="0" y="199"/>
                        <a:pt x="1" y="217"/>
                        <a:pt x="1" y="234"/>
                      </a:cubicBezTo>
                      <a:cubicBezTo>
                        <a:pt x="2" y="250"/>
                        <a:pt x="0" y="263"/>
                        <a:pt x="9" y="275"/>
                      </a:cubicBezTo>
                      <a:cubicBezTo>
                        <a:pt x="14" y="282"/>
                        <a:pt x="21" y="286"/>
                        <a:pt x="28" y="291"/>
                      </a:cubicBezTo>
                      <a:cubicBezTo>
                        <a:pt x="72" y="317"/>
                        <a:pt x="116" y="344"/>
                        <a:pt x="161" y="370"/>
                      </a:cubicBezTo>
                      <a:cubicBezTo>
                        <a:pt x="186" y="386"/>
                        <a:pt x="210" y="404"/>
                        <a:pt x="239" y="413"/>
                      </a:cubicBezTo>
                      <a:cubicBezTo>
                        <a:pt x="301" y="450"/>
                        <a:pt x="364" y="487"/>
                        <a:pt x="426" y="525"/>
                      </a:cubicBezTo>
                      <a:cubicBezTo>
                        <a:pt x="432" y="529"/>
                        <a:pt x="438" y="531"/>
                        <a:pt x="444" y="530"/>
                      </a:cubicBezTo>
                      <a:cubicBezTo>
                        <a:pt x="444" y="530"/>
                        <a:pt x="444" y="530"/>
                        <a:pt x="444" y="530"/>
                      </a:cubicBezTo>
                      <a:cubicBezTo>
                        <a:pt x="445" y="530"/>
                        <a:pt x="445" y="529"/>
                        <a:pt x="446" y="529"/>
                      </a:cubicBezTo>
                      <a:cubicBezTo>
                        <a:pt x="447" y="529"/>
                        <a:pt x="448" y="529"/>
                        <a:pt x="448" y="528"/>
                      </a:cubicBezTo>
                      <a:cubicBezTo>
                        <a:pt x="448" y="528"/>
                        <a:pt x="448" y="528"/>
                        <a:pt x="449" y="528"/>
                      </a:cubicBezTo>
                      <a:cubicBezTo>
                        <a:pt x="450" y="527"/>
                        <a:pt x="452" y="526"/>
                        <a:pt x="454" y="525"/>
                      </a:cubicBezTo>
                      <a:cubicBezTo>
                        <a:pt x="516" y="487"/>
                        <a:pt x="579" y="450"/>
                        <a:pt x="641" y="413"/>
                      </a:cubicBezTo>
                      <a:cubicBezTo>
                        <a:pt x="670" y="404"/>
                        <a:pt x="694" y="386"/>
                        <a:pt x="719" y="370"/>
                      </a:cubicBezTo>
                      <a:cubicBezTo>
                        <a:pt x="746" y="354"/>
                        <a:pt x="772" y="338"/>
                        <a:pt x="799" y="322"/>
                      </a:cubicBezTo>
                      <a:cubicBezTo>
                        <a:pt x="803" y="320"/>
                        <a:pt x="807" y="318"/>
                        <a:pt x="810" y="316"/>
                      </a:cubicBezTo>
                      <a:cubicBezTo>
                        <a:pt x="824" y="307"/>
                        <a:pt x="838" y="299"/>
                        <a:pt x="852" y="291"/>
                      </a:cubicBezTo>
                      <a:cubicBezTo>
                        <a:pt x="859" y="287"/>
                        <a:pt x="866" y="282"/>
                        <a:pt x="870" y="275"/>
                      </a:cubicBezTo>
                      <a:cubicBezTo>
                        <a:pt x="880" y="263"/>
                        <a:pt x="880" y="246"/>
                        <a:pt x="879" y="231"/>
                      </a:cubicBezTo>
                      <a:cubicBezTo>
                        <a:pt x="879" y="220"/>
                        <a:pt x="883" y="189"/>
                        <a:pt x="875"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grpSp>
            <p:nvGrpSpPr>
              <p:cNvPr id="188" name="Group 22">
                <a:extLst>
                  <a:ext uri="{FF2B5EF4-FFF2-40B4-BE49-F238E27FC236}">
                    <a16:creationId xmlns:a16="http://schemas.microsoft.com/office/drawing/2014/main" id="{B4520E5C-7FA2-4DD4-96AC-9D8E9029DF0D}"/>
                  </a:ext>
                </a:extLst>
              </p:cNvPr>
              <p:cNvGrpSpPr>
                <a:grpSpLocks noChangeAspect="1"/>
              </p:cNvGrpSpPr>
              <p:nvPr/>
            </p:nvGrpSpPr>
            <p:grpSpPr bwMode="auto">
              <a:xfrm>
                <a:off x="10794362" y="4845291"/>
                <a:ext cx="410484" cy="122489"/>
                <a:chOff x="-7" y="-42"/>
                <a:chExt cx="5361" cy="1712"/>
              </a:xfrm>
              <a:solidFill>
                <a:srgbClr val="D83B01"/>
              </a:solidFill>
            </p:grpSpPr>
            <p:sp>
              <p:nvSpPr>
                <p:cNvPr id="218" name="Freeform 23">
                  <a:extLst>
                    <a:ext uri="{FF2B5EF4-FFF2-40B4-BE49-F238E27FC236}">
                      <a16:creationId xmlns:a16="http://schemas.microsoft.com/office/drawing/2014/main" id="{677BEE56-77DC-4CC6-A77E-8FFBD269FCC5}"/>
                    </a:ext>
                  </a:extLst>
                </p:cNvPr>
                <p:cNvSpPr>
                  <a:spLocks/>
                </p:cNvSpPr>
                <p:nvPr/>
              </p:nvSpPr>
              <p:spPr bwMode="auto">
                <a:xfrm>
                  <a:off x="3213" y="-39"/>
                  <a:ext cx="2141" cy="1667"/>
                </a:xfrm>
                <a:custGeom>
                  <a:avLst/>
                  <a:gdLst>
                    <a:gd name="T0" fmla="*/ 234 w 802"/>
                    <a:gd name="T1" fmla="*/ 438 h 622"/>
                    <a:gd name="T2" fmla="*/ 262 w 802"/>
                    <a:gd name="T3" fmla="*/ 356 h 622"/>
                    <a:gd name="T4" fmla="*/ 327 w 802"/>
                    <a:gd name="T5" fmla="*/ 163 h 622"/>
                    <a:gd name="T6" fmla="*/ 361 w 802"/>
                    <a:gd name="T7" fmla="*/ 115 h 622"/>
                    <a:gd name="T8" fmla="*/ 451 w 802"/>
                    <a:gd name="T9" fmla="*/ 117 h 622"/>
                    <a:gd name="T10" fmla="*/ 479 w 802"/>
                    <a:gd name="T11" fmla="*/ 153 h 622"/>
                    <a:gd name="T12" fmla="*/ 535 w 802"/>
                    <a:gd name="T13" fmla="*/ 317 h 622"/>
                    <a:gd name="T14" fmla="*/ 566 w 802"/>
                    <a:gd name="T15" fmla="*/ 414 h 622"/>
                    <a:gd name="T16" fmla="*/ 575 w 802"/>
                    <a:gd name="T17" fmla="*/ 435 h 622"/>
                    <a:gd name="T18" fmla="*/ 581 w 802"/>
                    <a:gd name="T19" fmla="*/ 434 h 622"/>
                    <a:gd name="T20" fmla="*/ 597 w 802"/>
                    <a:gd name="T21" fmla="*/ 374 h 622"/>
                    <a:gd name="T22" fmla="*/ 661 w 802"/>
                    <a:gd name="T23" fmla="*/ 96 h 622"/>
                    <a:gd name="T24" fmla="*/ 664 w 802"/>
                    <a:gd name="T25" fmla="*/ 82 h 622"/>
                    <a:gd name="T26" fmla="*/ 789 w 802"/>
                    <a:gd name="T27" fmla="*/ 39 h 622"/>
                    <a:gd name="T28" fmla="*/ 798 w 802"/>
                    <a:gd name="T29" fmla="*/ 73 h 622"/>
                    <a:gd name="T30" fmla="*/ 750 w 802"/>
                    <a:gd name="T31" fmla="*/ 254 h 622"/>
                    <a:gd name="T32" fmla="*/ 662 w 802"/>
                    <a:gd name="T33" fmla="*/ 570 h 622"/>
                    <a:gd name="T34" fmla="*/ 602 w 802"/>
                    <a:gd name="T35" fmla="*/ 618 h 622"/>
                    <a:gd name="T36" fmla="*/ 497 w 802"/>
                    <a:gd name="T37" fmla="*/ 547 h 622"/>
                    <a:gd name="T38" fmla="*/ 415 w 802"/>
                    <a:gd name="T39" fmla="*/ 298 h 622"/>
                    <a:gd name="T40" fmla="*/ 404 w 802"/>
                    <a:gd name="T41" fmla="*/ 273 h 622"/>
                    <a:gd name="T42" fmla="*/ 390 w 802"/>
                    <a:gd name="T43" fmla="*/ 302 h 622"/>
                    <a:gd name="T44" fmla="*/ 301 w 802"/>
                    <a:gd name="T45" fmla="*/ 564 h 622"/>
                    <a:gd name="T46" fmla="*/ 227 w 802"/>
                    <a:gd name="T47" fmla="*/ 618 h 622"/>
                    <a:gd name="T48" fmla="*/ 209 w 802"/>
                    <a:gd name="T49" fmla="*/ 618 h 622"/>
                    <a:gd name="T50" fmla="*/ 147 w 802"/>
                    <a:gd name="T51" fmla="*/ 576 h 622"/>
                    <a:gd name="T52" fmla="*/ 111 w 802"/>
                    <a:gd name="T53" fmla="*/ 462 h 622"/>
                    <a:gd name="T54" fmla="*/ 12 w 802"/>
                    <a:gd name="T55" fmla="*/ 102 h 622"/>
                    <a:gd name="T56" fmla="*/ 7 w 802"/>
                    <a:gd name="T57" fmla="*/ 80 h 622"/>
                    <a:gd name="T58" fmla="*/ 36 w 802"/>
                    <a:gd name="T59" fmla="*/ 28 h 622"/>
                    <a:gd name="T60" fmla="*/ 140 w 802"/>
                    <a:gd name="T61" fmla="*/ 79 h 622"/>
                    <a:gd name="T62" fmla="*/ 199 w 802"/>
                    <a:gd name="T63" fmla="*/ 328 h 622"/>
                    <a:gd name="T64" fmla="*/ 221 w 802"/>
                    <a:gd name="T65" fmla="*/ 420 h 622"/>
                    <a:gd name="T66" fmla="*/ 227 w 802"/>
                    <a:gd name="T67" fmla="*/ 438 h 622"/>
                    <a:gd name="T68" fmla="*/ 234 w 802"/>
                    <a:gd name="T69" fmla="*/ 438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2" h="622">
                      <a:moveTo>
                        <a:pt x="234" y="438"/>
                      </a:moveTo>
                      <a:cubicBezTo>
                        <a:pt x="243" y="411"/>
                        <a:pt x="253" y="384"/>
                        <a:pt x="262" y="356"/>
                      </a:cubicBezTo>
                      <a:cubicBezTo>
                        <a:pt x="284" y="292"/>
                        <a:pt x="305" y="227"/>
                        <a:pt x="327" y="163"/>
                      </a:cubicBezTo>
                      <a:cubicBezTo>
                        <a:pt x="333" y="144"/>
                        <a:pt x="338" y="118"/>
                        <a:pt x="361" y="115"/>
                      </a:cubicBezTo>
                      <a:cubicBezTo>
                        <a:pt x="390" y="110"/>
                        <a:pt x="422" y="111"/>
                        <a:pt x="451" y="117"/>
                      </a:cubicBezTo>
                      <a:cubicBezTo>
                        <a:pt x="462" y="119"/>
                        <a:pt x="474" y="139"/>
                        <a:pt x="479" y="153"/>
                      </a:cubicBezTo>
                      <a:cubicBezTo>
                        <a:pt x="499" y="207"/>
                        <a:pt x="517" y="262"/>
                        <a:pt x="535" y="317"/>
                      </a:cubicBezTo>
                      <a:cubicBezTo>
                        <a:pt x="545" y="349"/>
                        <a:pt x="555" y="382"/>
                        <a:pt x="566" y="414"/>
                      </a:cubicBezTo>
                      <a:cubicBezTo>
                        <a:pt x="568" y="421"/>
                        <a:pt x="572" y="428"/>
                        <a:pt x="575" y="435"/>
                      </a:cubicBezTo>
                      <a:cubicBezTo>
                        <a:pt x="577" y="435"/>
                        <a:pt x="579" y="435"/>
                        <a:pt x="581" y="434"/>
                      </a:cubicBezTo>
                      <a:cubicBezTo>
                        <a:pt x="587" y="414"/>
                        <a:pt x="592" y="394"/>
                        <a:pt x="597" y="374"/>
                      </a:cubicBezTo>
                      <a:cubicBezTo>
                        <a:pt x="618" y="281"/>
                        <a:pt x="640" y="188"/>
                        <a:pt x="661" y="96"/>
                      </a:cubicBezTo>
                      <a:cubicBezTo>
                        <a:pt x="662" y="91"/>
                        <a:pt x="663" y="87"/>
                        <a:pt x="664" y="82"/>
                      </a:cubicBezTo>
                      <a:cubicBezTo>
                        <a:pt x="682" y="18"/>
                        <a:pt x="734" y="0"/>
                        <a:pt x="789" y="39"/>
                      </a:cubicBezTo>
                      <a:cubicBezTo>
                        <a:pt x="802" y="48"/>
                        <a:pt x="802" y="60"/>
                        <a:pt x="798" y="73"/>
                      </a:cubicBezTo>
                      <a:cubicBezTo>
                        <a:pt x="782" y="133"/>
                        <a:pt x="767" y="194"/>
                        <a:pt x="750" y="254"/>
                      </a:cubicBezTo>
                      <a:cubicBezTo>
                        <a:pt x="721" y="360"/>
                        <a:pt x="692" y="465"/>
                        <a:pt x="662" y="570"/>
                      </a:cubicBezTo>
                      <a:cubicBezTo>
                        <a:pt x="653" y="604"/>
                        <a:pt x="637" y="616"/>
                        <a:pt x="602" y="618"/>
                      </a:cubicBezTo>
                      <a:cubicBezTo>
                        <a:pt x="529" y="622"/>
                        <a:pt x="520" y="616"/>
                        <a:pt x="497" y="547"/>
                      </a:cubicBezTo>
                      <a:cubicBezTo>
                        <a:pt x="469" y="464"/>
                        <a:pt x="442" y="381"/>
                        <a:pt x="415" y="298"/>
                      </a:cubicBezTo>
                      <a:cubicBezTo>
                        <a:pt x="412" y="291"/>
                        <a:pt x="409" y="285"/>
                        <a:pt x="404" y="273"/>
                      </a:cubicBezTo>
                      <a:cubicBezTo>
                        <a:pt x="397" y="286"/>
                        <a:pt x="393" y="294"/>
                        <a:pt x="390" y="302"/>
                      </a:cubicBezTo>
                      <a:cubicBezTo>
                        <a:pt x="360" y="389"/>
                        <a:pt x="331" y="477"/>
                        <a:pt x="301" y="564"/>
                      </a:cubicBezTo>
                      <a:cubicBezTo>
                        <a:pt x="287" y="606"/>
                        <a:pt x="272" y="617"/>
                        <a:pt x="227" y="618"/>
                      </a:cubicBezTo>
                      <a:cubicBezTo>
                        <a:pt x="221" y="618"/>
                        <a:pt x="215" y="618"/>
                        <a:pt x="209" y="618"/>
                      </a:cubicBezTo>
                      <a:cubicBezTo>
                        <a:pt x="177" y="621"/>
                        <a:pt x="157" y="605"/>
                        <a:pt x="147" y="576"/>
                      </a:cubicBezTo>
                      <a:cubicBezTo>
                        <a:pt x="134" y="538"/>
                        <a:pt x="121" y="500"/>
                        <a:pt x="111" y="462"/>
                      </a:cubicBezTo>
                      <a:cubicBezTo>
                        <a:pt x="77" y="342"/>
                        <a:pt x="44" y="222"/>
                        <a:pt x="12" y="102"/>
                      </a:cubicBezTo>
                      <a:cubicBezTo>
                        <a:pt x="10" y="95"/>
                        <a:pt x="8" y="87"/>
                        <a:pt x="7" y="80"/>
                      </a:cubicBezTo>
                      <a:cubicBezTo>
                        <a:pt x="0" y="48"/>
                        <a:pt x="5" y="39"/>
                        <a:pt x="36" y="28"/>
                      </a:cubicBezTo>
                      <a:cubicBezTo>
                        <a:pt x="88" y="8"/>
                        <a:pt x="126" y="25"/>
                        <a:pt x="140" y="79"/>
                      </a:cubicBezTo>
                      <a:cubicBezTo>
                        <a:pt x="161" y="162"/>
                        <a:pt x="179" y="245"/>
                        <a:pt x="199" y="328"/>
                      </a:cubicBezTo>
                      <a:cubicBezTo>
                        <a:pt x="206" y="359"/>
                        <a:pt x="213" y="389"/>
                        <a:pt x="221" y="420"/>
                      </a:cubicBezTo>
                      <a:cubicBezTo>
                        <a:pt x="222" y="426"/>
                        <a:pt x="225" y="432"/>
                        <a:pt x="227" y="438"/>
                      </a:cubicBezTo>
                      <a:cubicBezTo>
                        <a:pt x="229" y="438"/>
                        <a:pt x="232" y="438"/>
                        <a:pt x="234"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19" name="Freeform 24">
                  <a:extLst>
                    <a:ext uri="{FF2B5EF4-FFF2-40B4-BE49-F238E27FC236}">
                      <a16:creationId xmlns:a16="http://schemas.microsoft.com/office/drawing/2014/main" id="{7DDB2CA5-FBC5-40D4-B1AF-A3C5F7D26102}"/>
                    </a:ext>
                  </a:extLst>
                </p:cNvPr>
                <p:cNvSpPr>
                  <a:spLocks/>
                </p:cNvSpPr>
                <p:nvPr/>
              </p:nvSpPr>
              <p:spPr bwMode="auto">
                <a:xfrm>
                  <a:off x="-7" y="-42"/>
                  <a:ext cx="1423" cy="1670"/>
                </a:xfrm>
                <a:custGeom>
                  <a:avLst/>
                  <a:gdLst>
                    <a:gd name="T0" fmla="*/ 4 w 533"/>
                    <a:gd name="T1" fmla="*/ 309 h 623"/>
                    <a:gd name="T2" fmla="*/ 4 w 533"/>
                    <a:gd name="T3" fmla="*/ 127 h 623"/>
                    <a:gd name="T4" fmla="*/ 4 w 533"/>
                    <a:gd name="T5" fmla="*/ 83 h 623"/>
                    <a:gd name="T6" fmla="*/ 23 w 533"/>
                    <a:gd name="T7" fmla="*/ 31 h 623"/>
                    <a:gd name="T8" fmla="*/ 103 w 533"/>
                    <a:gd name="T9" fmla="*/ 48 h 623"/>
                    <a:gd name="T10" fmla="*/ 124 w 533"/>
                    <a:gd name="T11" fmla="*/ 77 h 623"/>
                    <a:gd name="T12" fmla="*/ 147 w 533"/>
                    <a:gd name="T13" fmla="*/ 81 h 623"/>
                    <a:gd name="T14" fmla="*/ 275 w 533"/>
                    <a:gd name="T15" fmla="*/ 20 h 623"/>
                    <a:gd name="T16" fmla="*/ 523 w 533"/>
                    <a:gd name="T17" fmla="*/ 166 h 623"/>
                    <a:gd name="T18" fmla="*/ 530 w 533"/>
                    <a:gd name="T19" fmla="*/ 225 h 623"/>
                    <a:gd name="T20" fmla="*/ 532 w 533"/>
                    <a:gd name="T21" fmla="*/ 573 h 623"/>
                    <a:gd name="T22" fmla="*/ 504 w 533"/>
                    <a:gd name="T23" fmla="*/ 613 h 623"/>
                    <a:gd name="T24" fmla="*/ 438 w 533"/>
                    <a:gd name="T25" fmla="*/ 614 h 623"/>
                    <a:gd name="T26" fmla="*/ 408 w 533"/>
                    <a:gd name="T27" fmla="*/ 575 h 623"/>
                    <a:gd name="T28" fmla="*/ 402 w 533"/>
                    <a:gd name="T29" fmla="*/ 273 h 623"/>
                    <a:gd name="T30" fmla="*/ 377 w 533"/>
                    <a:gd name="T31" fmla="*/ 182 h 623"/>
                    <a:gd name="T32" fmla="*/ 314 w 533"/>
                    <a:gd name="T33" fmla="*/ 140 h 623"/>
                    <a:gd name="T34" fmla="*/ 156 w 533"/>
                    <a:gd name="T35" fmla="*/ 192 h 623"/>
                    <a:gd name="T36" fmla="*/ 135 w 533"/>
                    <a:gd name="T37" fmla="*/ 250 h 623"/>
                    <a:gd name="T38" fmla="*/ 131 w 533"/>
                    <a:gd name="T39" fmla="*/ 534 h 623"/>
                    <a:gd name="T40" fmla="*/ 126 w 533"/>
                    <a:gd name="T41" fmla="*/ 584 h 623"/>
                    <a:gd name="T42" fmla="*/ 88 w 533"/>
                    <a:gd name="T43" fmla="*/ 618 h 623"/>
                    <a:gd name="T44" fmla="*/ 84 w 533"/>
                    <a:gd name="T45" fmla="*/ 619 h 623"/>
                    <a:gd name="T46" fmla="*/ 7 w 533"/>
                    <a:gd name="T47" fmla="*/ 555 h 623"/>
                    <a:gd name="T48" fmla="*/ 7 w 533"/>
                    <a:gd name="T49" fmla="*/ 309 h 623"/>
                    <a:gd name="T50" fmla="*/ 4 w 533"/>
                    <a:gd name="T51" fmla="*/ 309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3" h="623">
                      <a:moveTo>
                        <a:pt x="4" y="309"/>
                      </a:moveTo>
                      <a:cubicBezTo>
                        <a:pt x="4" y="249"/>
                        <a:pt x="4" y="188"/>
                        <a:pt x="4" y="127"/>
                      </a:cubicBezTo>
                      <a:cubicBezTo>
                        <a:pt x="4" y="113"/>
                        <a:pt x="3" y="98"/>
                        <a:pt x="4" y="83"/>
                      </a:cubicBezTo>
                      <a:cubicBezTo>
                        <a:pt x="6" y="64"/>
                        <a:pt x="0" y="41"/>
                        <a:pt x="23" y="31"/>
                      </a:cubicBezTo>
                      <a:cubicBezTo>
                        <a:pt x="47" y="20"/>
                        <a:pt x="86" y="29"/>
                        <a:pt x="103" y="48"/>
                      </a:cubicBezTo>
                      <a:cubicBezTo>
                        <a:pt x="111" y="57"/>
                        <a:pt x="118" y="67"/>
                        <a:pt x="124" y="77"/>
                      </a:cubicBezTo>
                      <a:cubicBezTo>
                        <a:pt x="130" y="90"/>
                        <a:pt x="136" y="90"/>
                        <a:pt x="147" y="81"/>
                      </a:cubicBezTo>
                      <a:cubicBezTo>
                        <a:pt x="184" y="51"/>
                        <a:pt x="226" y="29"/>
                        <a:pt x="275" y="20"/>
                      </a:cubicBezTo>
                      <a:cubicBezTo>
                        <a:pt x="381" y="0"/>
                        <a:pt x="490" y="63"/>
                        <a:pt x="523" y="166"/>
                      </a:cubicBezTo>
                      <a:cubicBezTo>
                        <a:pt x="529" y="184"/>
                        <a:pt x="530" y="205"/>
                        <a:pt x="530" y="225"/>
                      </a:cubicBezTo>
                      <a:cubicBezTo>
                        <a:pt x="532" y="341"/>
                        <a:pt x="532" y="457"/>
                        <a:pt x="532" y="573"/>
                      </a:cubicBezTo>
                      <a:cubicBezTo>
                        <a:pt x="533" y="594"/>
                        <a:pt x="523" y="609"/>
                        <a:pt x="504" y="613"/>
                      </a:cubicBezTo>
                      <a:cubicBezTo>
                        <a:pt x="483" y="617"/>
                        <a:pt x="459" y="618"/>
                        <a:pt x="438" y="614"/>
                      </a:cubicBezTo>
                      <a:cubicBezTo>
                        <a:pt x="419" y="611"/>
                        <a:pt x="409" y="596"/>
                        <a:pt x="408" y="575"/>
                      </a:cubicBezTo>
                      <a:cubicBezTo>
                        <a:pt x="407" y="474"/>
                        <a:pt x="405" y="373"/>
                        <a:pt x="402" y="273"/>
                      </a:cubicBezTo>
                      <a:cubicBezTo>
                        <a:pt x="402" y="241"/>
                        <a:pt x="397" y="209"/>
                        <a:pt x="377" y="182"/>
                      </a:cubicBezTo>
                      <a:cubicBezTo>
                        <a:pt x="361" y="160"/>
                        <a:pt x="341" y="145"/>
                        <a:pt x="314" y="140"/>
                      </a:cubicBezTo>
                      <a:cubicBezTo>
                        <a:pt x="252" y="129"/>
                        <a:pt x="199" y="144"/>
                        <a:pt x="156" y="192"/>
                      </a:cubicBezTo>
                      <a:cubicBezTo>
                        <a:pt x="142" y="208"/>
                        <a:pt x="135" y="227"/>
                        <a:pt x="135" y="250"/>
                      </a:cubicBezTo>
                      <a:cubicBezTo>
                        <a:pt x="134" y="345"/>
                        <a:pt x="133" y="439"/>
                        <a:pt x="131" y="534"/>
                      </a:cubicBezTo>
                      <a:cubicBezTo>
                        <a:pt x="131" y="551"/>
                        <a:pt x="129" y="567"/>
                        <a:pt x="126" y="584"/>
                      </a:cubicBezTo>
                      <a:cubicBezTo>
                        <a:pt x="122" y="605"/>
                        <a:pt x="110" y="616"/>
                        <a:pt x="88" y="618"/>
                      </a:cubicBezTo>
                      <a:cubicBezTo>
                        <a:pt x="87" y="618"/>
                        <a:pt x="85" y="618"/>
                        <a:pt x="84" y="619"/>
                      </a:cubicBezTo>
                      <a:cubicBezTo>
                        <a:pt x="8" y="623"/>
                        <a:pt x="8" y="606"/>
                        <a:pt x="7" y="555"/>
                      </a:cubicBezTo>
                      <a:cubicBezTo>
                        <a:pt x="5" y="473"/>
                        <a:pt x="7" y="391"/>
                        <a:pt x="7" y="309"/>
                      </a:cubicBezTo>
                      <a:cubicBezTo>
                        <a:pt x="6" y="309"/>
                        <a:pt x="5" y="309"/>
                        <a:pt x="4" y="3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0" name="Freeform 25">
                  <a:extLst>
                    <a:ext uri="{FF2B5EF4-FFF2-40B4-BE49-F238E27FC236}">
                      <a16:creationId xmlns:a16="http://schemas.microsoft.com/office/drawing/2014/main" id="{F5F32FFE-3907-427E-BF60-11CDF1C4A671}"/>
                    </a:ext>
                  </a:extLst>
                </p:cNvPr>
                <p:cNvSpPr>
                  <a:spLocks/>
                </p:cNvSpPr>
                <p:nvPr/>
              </p:nvSpPr>
              <p:spPr bwMode="auto">
                <a:xfrm>
                  <a:off x="1579" y="207"/>
                  <a:ext cx="1605" cy="1463"/>
                </a:xfrm>
                <a:custGeom>
                  <a:avLst/>
                  <a:gdLst>
                    <a:gd name="T0" fmla="*/ 600 w 601"/>
                    <a:gd name="T1" fmla="*/ 228 h 546"/>
                    <a:gd name="T2" fmla="*/ 388 w 601"/>
                    <a:gd name="T3" fmla="*/ 515 h 546"/>
                    <a:gd name="T4" fmla="*/ 53 w 601"/>
                    <a:gd name="T5" fmla="*/ 401 h 546"/>
                    <a:gd name="T6" fmla="*/ 9 w 601"/>
                    <a:gd name="T7" fmla="*/ 284 h 546"/>
                    <a:gd name="T8" fmla="*/ 19 w 601"/>
                    <a:gd name="T9" fmla="*/ 119 h 546"/>
                    <a:gd name="T10" fmla="*/ 62 w 601"/>
                    <a:gd name="T11" fmla="*/ 41 h 546"/>
                    <a:gd name="T12" fmla="*/ 169 w 601"/>
                    <a:gd name="T13" fmla="*/ 42 h 546"/>
                    <a:gd name="T14" fmla="*/ 174 w 601"/>
                    <a:gd name="T15" fmla="*/ 77 h 546"/>
                    <a:gd name="T16" fmla="*/ 149 w 601"/>
                    <a:gd name="T17" fmla="*/ 122 h 546"/>
                    <a:gd name="T18" fmla="*/ 151 w 601"/>
                    <a:gd name="T19" fmla="*/ 326 h 546"/>
                    <a:gd name="T20" fmla="*/ 343 w 601"/>
                    <a:gd name="T21" fmla="*/ 411 h 546"/>
                    <a:gd name="T22" fmla="*/ 479 w 601"/>
                    <a:gd name="T23" fmla="*/ 257 h 546"/>
                    <a:gd name="T24" fmla="*/ 440 w 601"/>
                    <a:gd name="T25" fmla="*/ 93 h 546"/>
                    <a:gd name="T26" fmla="*/ 462 w 601"/>
                    <a:gd name="T27" fmla="*/ 24 h 546"/>
                    <a:gd name="T28" fmla="*/ 546 w 601"/>
                    <a:gd name="T29" fmla="*/ 42 h 546"/>
                    <a:gd name="T30" fmla="*/ 600 w 601"/>
                    <a:gd name="T31" fmla="*/ 184 h 546"/>
                    <a:gd name="T32" fmla="*/ 600 w 601"/>
                    <a:gd name="T33" fmla="*/ 22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1" h="546">
                      <a:moveTo>
                        <a:pt x="600" y="228"/>
                      </a:moveTo>
                      <a:cubicBezTo>
                        <a:pt x="601" y="371"/>
                        <a:pt x="522" y="483"/>
                        <a:pt x="388" y="515"/>
                      </a:cubicBezTo>
                      <a:cubicBezTo>
                        <a:pt x="253" y="546"/>
                        <a:pt x="135" y="515"/>
                        <a:pt x="53" y="401"/>
                      </a:cubicBezTo>
                      <a:cubicBezTo>
                        <a:pt x="28" y="366"/>
                        <a:pt x="15" y="327"/>
                        <a:pt x="9" y="284"/>
                      </a:cubicBezTo>
                      <a:cubicBezTo>
                        <a:pt x="1" y="228"/>
                        <a:pt x="0" y="172"/>
                        <a:pt x="19" y="119"/>
                      </a:cubicBezTo>
                      <a:cubicBezTo>
                        <a:pt x="29" y="91"/>
                        <a:pt x="45" y="65"/>
                        <a:pt x="62" y="41"/>
                      </a:cubicBezTo>
                      <a:cubicBezTo>
                        <a:pt x="91" y="0"/>
                        <a:pt x="148" y="17"/>
                        <a:pt x="169" y="42"/>
                      </a:cubicBezTo>
                      <a:cubicBezTo>
                        <a:pt x="178" y="53"/>
                        <a:pt x="181" y="64"/>
                        <a:pt x="174" y="77"/>
                      </a:cubicBezTo>
                      <a:cubicBezTo>
                        <a:pt x="166" y="92"/>
                        <a:pt x="157" y="107"/>
                        <a:pt x="149" y="122"/>
                      </a:cubicBezTo>
                      <a:cubicBezTo>
                        <a:pt x="116" y="190"/>
                        <a:pt x="114" y="259"/>
                        <a:pt x="151" y="326"/>
                      </a:cubicBezTo>
                      <a:cubicBezTo>
                        <a:pt x="189" y="397"/>
                        <a:pt x="263" y="428"/>
                        <a:pt x="343" y="411"/>
                      </a:cubicBezTo>
                      <a:cubicBezTo>
                        <a:pt x="415" y="396"/>
                        <a:pt x="467" y="336"/>
                        <a:pt x="479" y="257"/>
                      </a:cubicBezTo>
                      <a:cubicBezTo>
                        <a:pt x="488" y="197"/>
                        <a:pt x="470" y="144"/>
                        <a:pt x="440" y="93"/>
                      </a:cubicBezTo>
                      <a:cubicBezTo>
                        <a:pt x="419" y="58"/>
                        <a:pt x="425" y="43"/>
                        <a:pt x="462" y="24"/>
                      </a:cubicBezTo>
                      <a:cubicBezTo>
                        <a:pt x="491" y="8"/>
                        <a:pt x="525" y="15"/>
                        <a:pt x="546" y="42"/>
                      </a:cubicBezTo>
                      <a:cubicBezTo>
                        <a:pt x="578" y="84"/>
                        <a:pt x="597" y="131"/>
                        <a:pt x="600" y="184"/>
                      </a:cubicBezTo>
                      <a:cubicBezTo>
                        <a:pt x="601" y="198"/>
                        <a:pt x="600" y="213"/>
                        <a:pt x="600"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21" name="Freeform 26">
                  <a:extLst>
                    <a:ext uri="{FF2B5EF4-FFF2-40B4-BE49-F238E27FC236}">
                      <a16:creationId xmlns:a16="http://schemas.microsoft.com/office/drawing/2014/main" id="{A934EF54-A74F-46D4-A25C-1BBBC363B4A1}"/>
                    </a:ext>
                  </a:extLst>
                </p:cNvPr>
                <p:cNvSpPr>
                  <a:spLocks/>
                </p:cNvSpPr>
                <p:nvPr/>
              </p:nvSpPr>
              <p:spPr bwMode="auto">
                <a:xfrm>
                  <a:off x="2236" y="1"/>
                  <a:ext cx="304" cy="1010"/>
                </a:xfrm>
                <a:custGeom>
                  <a:avLst/>
                  <a:gdLst>
                    <a:gd name="T0" fmla="*/ 111 w 114"/>
                    <a:gd name="T1" fmla="*/ 185 h 377"/>
                    <a:gd name="T2" fmla="*/ 111 w 114"/>
                    <a:gd name="T3" fmla="*/ 321 h 377"/>
                    <a:gd name="T4" fmla="*/ 28 w 114"/>
                    <a:gd name="T5" fmla="*/ 365 h 377"/>
                    <a:gd name="T6" fmla="*/ 7 w 114"/>
                    <a:gd name="T7" fmla="*/ 337 h 377"/>
                    <a:gd name="T8" fmla="*/ 1 w 114"/>
                    <a:gd name="T9" fmla="*/ 291 h 377"/>
                    <a:gd name="T10" fmla="*/ 1 w 114"/>
                    <a:gd name="T11" fmla="*/ 82 h 377"/>
                    <a:gd name="T12" fmla="*/ 5 w 114"/>
                    <a:gd name="T13" fmla="*/ 42 h 377"/>
                    <a:gd name="T14" fmla="*/ 54 w 114"/>
                    <a:gd name="T15" fmla="*/ 1 h 377"/>
                    <a:gd name="T16" fmla="*/ 111 w 114"/>
                    <a:gd name="T17" fmla="*/ 50 h 377"/>
                    <a:gd name="T18" fmla="*/ 111 w 114"/>
                    <a:gd name="T19" fmla="*/ 18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377">
                      <a:moveTo>
                        <a:pt x="111" y="185"/>
                      </a:moveTo>
                      <a:cubicBezTo>
                        <a:pt x="111" y="230"/>
                        <a:pt x="114" y="276"/>
                        <a:pt x="111" y="321"/>
                      </a:cubicBezTo>
                      <a:cubicBezTo>
                        <a:pt x="108" y="372"/>
                        <a:pt x="75" y="377"/>
                        <a:pt x="28" y="365"/>
                      </a:cubicBezTo>
                      <a:cubicBezTo>
                        <a:pt x="19" y="363"/>
                        <a:pt x="10" y="348"/>
                        <a:pt x="7" y="337"/>
                      </a:cubicBezTo>
                      <a:cubicBezTo>
                        <a:pt x="2" y="322"/>
                        <a:pt x="1" y="306"/>
                        <a:pt x="1" y="291"/>
                      </a:cubicBezTo>
                      <a:cubicBezTo>
                        <a:pt x="0" y="221"/>
                        <a:pt x="0" y="152"/>
                        <a:pt x="1" y="82"/>
                      </a:cubicBezTo>
                      <a:cubicBezTo>
                        <a:pt x="1" y="68"/>
                        <a:pt x="2" y="55"/>
                        <a:pt x="5" y="42"/>
                      </a:cubicBezTo>
                      <a:cubicBezTo>
                        <a:pt x="10" y="12"/>
                        <a:pt x="23" y="1"/>
                        <a:pt x="54" y="1"/>
                      </a:cubicBezTo>
                      <a:cubicBezTo>
                        <a:pt x="94" y="0"/>
                        <a:pt x="108" y="9"/>
                        <a:pt x="111" y="50"/>
                      </a:cubicBezTo>
                      <a:cubicBezTo>
                        <a:pt x="114" y="95"/>
                        <a:pt x="111" y="140"/>
                        <a:pt x="111"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sp>
            <p:nvSpPr>
              <p:cNvPr id="189" name="Freeform 30">
                <a:extLst>
                  <a:ext uri="{FF2B5EF4-FFF2-40B4-BE49-F238E27FC236}">
                    <a16:creationId xmlns:a16="http://schemas.microsoft.com/office/drawing/2014/main" id="{FC69529D-4636-439D-92D5-54AD9BE1BCB8}"/>
                  </a:ext>
                </a:extLst>
              </p:cNvPr>
              <p:cNvSpPr>
                <a:spLocks noEditPoints="1"/>
              </p:cNvSpPr>
              <p:nvPr/>
            </p:nvSpPr>
            <p:spPr bwMode="auto">
              <a:xfrm>
                <a:off x="9318588" y="4811929"/>
                <a:ext cx="250791" cy="189213"/>
              </a:xfrm>
              <a:custGeom>
                <a:avLst/>
                <a:gdLst>
                  <a:gd name="T0" fmla="*/ 1212 w 1454"/>
                  <a:gd name="T1" fmla="*/ 18 h 1173"/>
                  <a:gd name="T2" fmla="*/ 777 w 1454"/>
                  <a:gd name="T3" fmla="*/ 110 h 1173"/>
                  <a:gd name="T4" fmla="*/ 712 w 1454"/>
                  <a:gd name="T5" fmla="*/ 112 h 1173"/>
                  <a:gd name="T6" fmla="*/ 428 w 1454"/>
                  <a:gd name="T7" fmla="*/ 12 h 1173"/>
                  <a:gd name="T8" fmla="*/ 40 w 1454"/>
                  <a:gd name="T9" fmla="*/ 6 h 1173"/>
                  <a:gd name="T10" fmla="*/ 6 w 1454"/>
                  <a:gd name="T11" fmla="*/ 53 h 1173"/>
                  <a:gd name="T12" fmla="*/ 6 w 1454"/>
                  <a:gd name="T13" fmla="*/ 475 h 1173"/>
                  <a:gd name="T14" fmla="*/ 5 w 1454"/>
                  <a:gd name="T15" fmla="*/ 903 h 1173"/>
                  <a:gd name="T16" fmla="*/ 49 w 1454"/>
                  <a:gd name="T17" fmla="*/ 947 h 1173"/>
                  <a:gd name="T18" fmla="*/ 388 w 1454"/>
                  <a:gd name="T19" fmla="*/ 943 h 1173"/>
                  <a:gd name="T20" fmla="*/ 844 w 1454"/>
                  <a:gd name="T21" fmla="*/ 659 h 1173"/>
                  <a:gd name="T22" fmla="*/ 864 w 1454"/>
                  <a:gd name="T23" fmla="*/ 636 h 1173"/>
                  <a:gd name="T24" fmla="*/ 968 w 1454"/>
                  <a:gd name="T25" fmla="*/ 695 h 1173"/>
                  <a:gd name="T26" fmla="*/ 968 w 1454"/>
                  <a:gd name="T27" fmla="*/ 778 h 1173"/>
                  <a:gd name="T28" fmla="*/ 857 w 1454"/>
                  <a:gd name="T29" fmla="*/ 885 h 1173"/>
                  <a:gd name="T30" fmla="*/ 555 w 1454"/>
                  <a:gd name="T31" fmla="*/ 1036 h 1173"/>
                  <a:gd name="T32" fmla="*/ 398 w 1454"/>
                  <a:gd name="T33" fmla="*/ 1107 h 1173"/>
                  <a:gd name="T34" fmla="*/ 374 w 1454"/>
                  <a:gd name="T35" fmla="*/ 1145 h 1173"/>
                  <a:gd name="T36" fmla="*/ 412 w 1454"/>
                  <a:gd name="T37" fmla="*/ 1172 h 1173"/>
                  <a:gd name="T38" fmla="*/ 467 w 1454"/>
                  <a:gd name="T39" fmla="*/ 1169 h 1173"/>
                  <a:gd name="T40" fmla="*/ 1049 w 1454"/>
                  <a:gd name="T41" fmla="*/ 878 h 1173"/>
                  <a:gd name="T42" fmla="*/ 1129 w 1454"/>
                  <a:gd name="T43" fmla="*/ 740 h 1173"/>
                  <a:gd name="T44" fmla="*/ 1055 w 1454"/>
                  <a:gd name="T45" fmla="*/ 586 h 1173"/>
                  <a:gd name="T46" fmla="*/ 918 w 1454"/>
                  <a:gd name="T47" fmla="*/ 545 h 1173"/>
                  <a:gd name="T48" fmla="*/ 878 w 1454"/>
                  <a:gd name="T49" fmla="*/ 494 h 1173"/>
                  <a:gd name="T50" fmla="*/ 825 w 1454"/>
                  <a:gd name="T51" fmla="*/ 242 h 1173"/>
                  <a:gd name="T52" fmla="*/ 842 w 1454"/>
                  <a:gd name="T53" fmla="*/ 203 h 1173"/>
                  <a:gd name="T54" fmla="*/ 1062 w 1454"/>
                  <a:gd name="T55" fmla="*/ 147 h 1173"/>
                  <a:gd name="T56" fmla="*/ 1324 w 1454"/>
                  <a:gd name="T57" fmla="*/ 178 h 1173"/>
                  <a:gd name="T58" fmla="*/ 1343 w 1454"/>
                  <a:gd name="T59" fmla="*/ 260 h 1173"/>
                  <a:gd name="T60" fmla="*/ 1328 w 1454"/>
                  <a:gd name="T61" fmla="*/ 299 h 1173"/>
                  <a:gd name="T62" fmla="*/ 1365 w 1454"/>
                  <a:gd name="T63" fmla="*/ 319 h 1173"/>
                  <a:gd name="T64" fmla="*/ 1446 w 1454"/>
                  <a:gd name="T65" fmla="*/ 243 h 1173"/>
                  <a:gd name="T66" fmla="*/ 1212 w 1454"/>
                  <a:gd name="T67" fmla="*/ 18 h 1173"/>
                  <a:gd name="T68" fmla="*/ 624 w 1454"/>
                  <a:gd name="T69" fmla="*/ 624 h 1173"/>
                  <a:gd name="T70" fmla="*/ 374 w 1454"/>
                  <a:gd name="T71" fmla="*/ 745 h 1173"/>
                  <a:gd name="T72" fmla="*/ 214 w 1454"/>
                  <a:gd name="T73" fmla="*/ 597 h 1173"/>
                  <a:gd name="T74" fmla="*/ 214 w 1454"/>
                  <a:gd name="T75" fmla="*/ 470 h 1173"/>
                  <a:gd name="T76" fmla="*/ 214 w 1454"/>
                  <a:gd name="T77" fmla="*/ 236 h 1173"/>
                  <a:gd name="T78" fmla="*/ 240 w 1454"/>
                  <a:gd name="T79" fmla="*/ 198 h 1173"/>
                  <a:gd name="T80" fmla="*/ 503 w 1454"/>
                  <a:gd name="T81" fmla="*/ 227 h 1173"/>
                  <a:gd name="T82" fmla="*/ 515 w 1454"/>
                  <a:gd name="T83" fmla="*/ 282 h 1173"/>
                  <a:gd name="T84" fmla="*/ 432 w 1454"/>
                  <a:gd name="T85" fmla="*/ 379 h 1173"/>
                  <a:gd name="T86" fmla="*/ 470 w 1454"/>
                  <a:gd name="T87" fmla="*/ 519 h 1173"/>
                  <a:gd name="T88" fmla="*/ 604 w 1454"/>
                  <a:gd name="T89" fmla="*/ 569 h 1173"/>
                  <a:gd name="T90" fmla="*/ 624 w 1454"/>
                  <a:gd name="T91" fmla="*/ 624 h 1173"/>
                  <a:gd name="T92" fmla="*/ 610 w 1454"/>
                  <a:gd name="T93" fmla="*/ 498 h 1173"/>
                  <a:gd name="T94" fmla="*/ 515 w 1454"/>
                  <a:gd name="T95" fmla="*/ 443 h 1173"/>
                  <a:gd name="T96" fmla="*/ 575 w 1454"/>
                  <a:gd name="T97" fmla="*/ 345 h 1173"/>
                  <a:gd name="T98" fmla="*/ 644 w 1454"/>
                  <a:gd name="T99" fmla="*/ 360 h 1173"/>
                  <a:gd name="T100" fmla="*/ 662 w 1454"/>
                  <a:gd name="T101" fmla="*/ 461 h 1173"/>
                  <a:gd name="T102" fmla="*/ 610 w 1454"/>
                  <a:gd name="T103" fmla="*/ 498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4" h="1173">
                    <a:moveTo>
                      <a:pt x="1212" y="18"/>
                    </a:moveTo>
                    <a:cubicBezTo>
                      <a:pt x="1058" y="6"/>
                      <a:pt x="915" y="46"/>
                      <a:pt x="777" y="110"/>
                    </a:cubicBezTo>
                    <a:cubicBezTo>
                      <a:pt x="755" y="120"/>
                      <a:pt x="738" y="132"/>
                      <a:pt x="712" y="112"/>
                    </a:cubicBezTo>
                    <a:cubicBezTo>
                      <a:pt x="629" y="49"/>
                      <a:pt x="531" y="22"/>
                      <a:pt x="428" y="12"/>
                    </a:cubicBezTo>
                    <a:cubicBezTo>
                      <a:pt x="299" y="0"/>
                      <a:pt x="169" y="10"/>
                      <a:pt x="40" y="6"/>
                    </a:cubicBezTo>
                    <a:cubicBezTo>
                      <a:pt x="0" y="4"/>
                      <a:pt x="6" y="29"/>
                      <a:pt x="6" y="53"/>
                    </a:cubicBezTo>
                    <a:cubicBezTo>
                      <a:pt x="6" y="194"/>
                      <a:pt x="6" y="335"/>
                      <a:pt x="6" y="475"/>
                    </a:cubicBezTo>
                    <a:cubicBezTo>
                      <a:pt x="6" y="618"/>
                      <a:pt x="7" y="760"/>
                      <a:pt x="5" y="903"/>
                    </a:cubicBezTo>
                    <a:cubicBezTo>
                      <a:pt x="5" y="937"/>
                      <a:pt x="15" y="948"/>
                      <a:pt x="49" y="947"/>
                    </a:cubicBezTo>
                    <a:cubicBezTo>
                      <a:pt x="162" y="944"/>
                      <a:pt x="275" y="951"/>
                      <a:pt x="388" y="943"/>
                    </a:cubicBezTo>
                    <a:cubicBezTo>
                      <a:pt x="588" y="929"/>
                      <a:pt x="753" y="852"/>
                      <a:pt x="844" y="659"/>
                    </a:cubicBezTo>
                    <a:cubicBezTo>
                      <a:pt x="848" y="649"/>
                      <a:pt x="851" y="633"/>
                      <a:pt x="864" y="636"/>
                    </a:cubicBezTo>
                    <a:cubicBezTo>
                      <a:pt x="904" y="646"/>
                      <a:pt x="942" y="661"/>
                      <a:pt x="968" y="695"/>
                    </a:cubicBezTo>
                    <a:cubicBezTo>
                      <a:pt x="989" y="722"/>
                      <a:pt x="983" y="751"/>
                      <a:pt x="968" y="778"/>
                    </a:cubicBezTo>
                    <a:cubicBezTo>
                      <a:pt x="942" y="825"/>
                      <a:pt x="901" y="856"/>
                      <a:pt x="857" y="885"/>
                    </a:cubicBezTo>
                    <a:cubicBezTo>
                      <a:pt x="763" y="948"/>
                      <a:pt x="658" y="991"/>
                      <a:pt x="555" y="1036"/>
                    </a:cubicBezTo>
                    <a:cubicBezTo>
                      <a:pt x="502" y="1059"/>
                      <a:pt x="450" y="1083"/>
                      <a:pt x="398" y="1107"/>
                    </a:cubicBezTo>
                    <a:cubicBezTo>
                      <a:pt x="382" y="1114"/>
                      <a:pt x="368" y="1125"/>
                      <a:pt x="374" y="1145"/>
                    </a:cubicBezTo>
                    <a:cubicBezTo>
                      <a:pt x="379" y="1164"/>
                      <a:pt x="394" y="1172"/>
                      <a:pt x="412" y="1172"/>
                    </a:cubicBezTo>
                    <a:cubicBezTo>
                      <a:pt x="430" y="1172"/>
                      <a:pt x="449" y="1173"/>
                      <a:pt x="467" y="1169"/>
                    </a:cubicBezTo>
                    <a:cubicBezTo>
                      <a:pt x="685" y="1121"/>
                      <a:pt x="888" y="1041"/>
                      <a:pt x="1049" y="878"/>
                    </a:cubicBezTo>
                    <a:cubicBezTo>
                      <a:pt x="1087" y="839"/>
                      <a:pt x="1117" y="795"/>
                      <a:pt x="1129" y="740"/>
                    </a:cubicBezTo>
                    <a:cubicBezTo>
                      <a:pt x="1145" y="665"/>
                      <a:pt x="1125" y="621"/>
                      <a:pt x="1055" y="586"/>
                    </a:cubicBezTo>
                    <a:cubicBezTo>
                      <a:pt x="1012" y="564"/>
                      <a:pt x="966" y="551"/>
                      <a:pt x="918" y="545"/>
                    </a:cubicBezTo>
                    <a:cubicBezTo>
                      <a:pt x="885" y="541"/>
                      <a:pt x="876" y="527"/>
                      <a:pt x="878" y="494"/>
                    </a:cubicBezTo>
                    <a:cubicBezTo>
                      <a:pt x="882" y="406"/>
                      <a:pt x="867" y="320"/>
                      <a:pt x="825" y="242"/>
                    </a:cubicBezTo>
                    <a:cubicBezTo>
                      <a:pt x="812" y="217"/>
                      <a:pt x="820" y="211"/>
                      <a:pt x="842" y="203"/>
                    </a:cubicBezTo>
                    <a:cubicBezTo>
                      <a:pt x="914" y="178"/>
                      <a:pt x="986" y="156"/>
                      <a:pt x="1062" y="147"/>
                    </a:cubicBezTo>
                    <a:cubicBezTo>
                      <a:pt x="1152" y="135"/>
                      <a:pt x="1239" y="144"/>
                      <a:pt x="1324" y="178"/>
                    </a:cubicBezTo>
                    <a:cubicBezTo>
                      <a:pt x="1375" y="198"/>
                      <a:pt x="1379" y="221"/>
                      <a:pt x="1343" y="260"/>
                    </a:cubicBezTo>
                    <a:cubicBezTo>
                      <a:pt x="1332" y="272"/>
                      <a:pt x="1321" y="283"/>
                      <a:pt x="1328" y="299"/>
                    </a:cubicBezTo>
                    <a:cubicBezTo>
                      <a:pt x="1334" y="314"/>
                      <a:pt x="1349" y="318"/>
                      <a:pt x="1365" y="319"/>
                    </a:cubicBezTo>
                    <a:cubicBezTo>
                      <a:pt x="1412" y="324"/>
                      <a:pt x="1443" y="296"/>
                      <a:pt x="1446" y="243"/>
                    </a:cubicBezTo>
                    <a:cubicBezTo>
                      <a:pt x="1454" y="115"/>
                      <a:pt x="1365" y="30"/>
                      <a:pt x="1212" y="18"/>
                    </a:cubicBezTo>
                    <a:close/>
                    <a:moveTo>
                      <a:pt x="624" y="624"/>
                    </a:moveTo>
                    <a:cubicBezTo>
                      <a:pt x="564" y="714"/>
                      <a:pt x="472" y="738"/>
                      <a:pt x="374" y="745"/>
                    </a:cubicBezTo>
                    <a:cubicBezTo>
                      <a:pt x="215" y="757"/>
                      <a:pt x="214" y="755"/>
                      <a:pt x="214" y="597"/>
                    </a:cubicBezTo>
                    <a:cubicBezTo>
                      <a:pt x="214" y="555"/>
                      <a:pt x="214" y="512"/>
                      <a:pt x="214" y="470"/>
                    </a:cubicBezTo>
                    <a:cubicBezTo>
                      <a:pt x="214" y="392"/>
                      <a:pt x="214" y="314"/>
                      <a:pt x="214" y="236"/>
                    </a:cubicBezTo>
                    <a:cubicBezTo>
                      <a:pt x="214" y="218"/>
                      <a:pt x="212" y="198"/>
                      <a:pt x="240" y="198"/>
                    </a:cubicBezTo>
                    <a:cubicBezTo>
                      <a:pt x="329" y="198"/>
                      <a:pt x="418" y="193"/>
                      <a:pt x="503" y="227"/>
                    </a:cubicBezTo>
                    <a:cubicBezTo>
                      <a:pt x="538" y="240"/>
                      <a:pt x="555" y="251"/>
                      <a:pt x="515" y="282"/>
                    </a:cubicBezTo>
                    <a:cubicBezTo>
                      <a:pt x="481" y="308"/>
                      <a:pt x="453" y="341"/>
                      <a:pt x="432" y="379"/>
                    </a:cubicBezTo>
                    <a:cubicBezTo>
                      <a:pt x="398" y="439"/>
                      <a:pt x="410" y="482"/>
                      <a:pt x="470" y="519"/>
                    </a:cubicBezTo>
                    <a:cubicBezTo>
                      <a:pt x="511" y="544"/>
                      <a:pt x="557" y="560"/>
                      <a:pt x="604" y="569"/>
                    </a:cubicBezTo>
                    <a:cubicBezTo>
                      <a:pt x="650" y="577"/>
                      <a:pt x="642" y="597"/>
                      <a:pt x="624" y="624"/>
                    </a:cubicBezTo>
                    <a:close/>
                    <a:moveTo>
                      <a:pt x="610" y="498"/>
                    </a:moveTo>
                    <a:cubicBezTo>
                      <a:pt x="574" y="486"/>
                      <a:pt x="525" y="488"/>
                      <a:pt x="515" y="443"/>
                    </a:cubicBezTo>
                    <a:cubicBezTo>
                      <a:pt x="505" y="398"/>
                      <a:pt x="547" y="374"/>
                      <a:pt x="575" y="345"/>
                    </a:cubicBezTo>
                    <a:cubicBezTo>
                      <a:pt x="607" y="313"/>
                      <a:pt x="629" y="316"/>
                      <a:pt x="644" y="360"/>
                    </a:cubicBezTo>
                    <a:cubicBezTo>
                      <a:pt x="655" y="392"/>
                      <a:pt x="662" y="424"/>
                      <a:pt x="662" y="461"/>
                    </a:cubicBezTo>
                    <a:cubicBezTo>
                      <a:pt x="671" y="505"/>
                      <a:pt x="649" y="511"/>
                      <a:pt x="610" y="49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nvGrpSpPr>
              <p:cNvPr id="190" name="Group 189">
                <a:extLst>
                  <a:ext uri="{FF2B5EF4-FFF2-40B4-BE49-F238E27FC236}">
                    <a16:creationId xmlns:a16="http://schemas.microsoft.com/office/drawing/2014/main" id="{82B9B7DA-8EDD-4C3F-8686-BCFE4FB04484}"/>
                  </a:ext>
                </a:extLst>
              </p:cNvPr>
              <p:cNvGrpSpPr/>
              <p:nvPr/>
            </p:nvGrpSpPr>
            <p:grpSpPr>
              <a:xfrm>
                <a:off x="9401512" y="3904268"/>
                <a:ext cx="1708310" cy="274628"/>
                <a:chOff x="9667332" y="4042824"/>
                <a:chExt cx="1708310" cy="274628"/>
              </a:xfrm>
            </p:grpSpPr>
            <p:sp>
              <p:nvSpPr>
                <p:cNvPr id="209" name="Freeform 81">
                  <a:extLst>
                    <a:ext uri="{FF2B5EF4-FFF2-40B4-BE49-F238E27FC236}">
                      <a16:creationId xmlns:a16="http://schemas.microsoft.com/office/drawing/2014/main" id="{728A3781-A7F2-499A-86D5-E52C2EF4840D}"/>
                    </a:ext>
                  </a:extLst>
                </p:cNvPr>
                <p:cNvSpPr>
                  <a:spLocks noChangeAspect="1" noEditPoints="1"/>
                </p:cNvSpPr>
                <p:nvPr/>
              </p:nvSpPr>
              <p:spPr bwMode="black">
                <a:xfrm>
                  <a:off x="9667332" y="4146548"/>
                  <a:ext cx="193678" cy="140111"/>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D83B01"/>
                </a:solidFill>
                <a:ln>
                  <a:noFill/>
                </a:ln>
                <a:extLst/>
              </p:spPr>
              <p:txBody>
                <a:bodyPr vert="horz" wrap="square" lIns="93225" tIns="46611" rIns="93225" bIns="46611" numCol="1" anchor="t" anchorCtr="0" compatLnSpc="1">
                  <a:prstTxWarp prst="textNoShape">
                    <a:avLst/>
                  </a:prstTxWarp>
                </a:bodyPr>
                <a:lstStyle/>
                <a:p>
                  <a:pPr marL="0" marR="0" lvl="0" indent="0" defTabSz="932143"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solidFill>
                    <a:effectLst/>
                    <a:uLnTx/>
                    <a:uFillTx/>
                    <a:latin typeface="Segoe UI"/>
                  </a:endParaRPr>
                </a:p>
              </p:txBody>
            </p:sp>
            <p:sp>
              <p:nvSpPr>
                <p:cNvPr id="210" name="Freeform 204">
                  <a:extLst>
                    <a:ext uri="{FF2B5EF4-FFF2-40B4-BE49-F238E27FC236}">
                      <a16:creationId xmlns:a16="http://schemas.microsoft.com/office/drawing/2014/main" id="{72290977-7E2B-4FC3-A091-201DEF68CE19}"/>
                    </a:ext>
                  </a:extLst>
                </p:cNvPr>
                <p:cNvSpPr>
                  <a:spLocks noChangeAspect="1" noEditPoints="1"/>
                </p:cNvSpPr>
                <p:nvPr/>
              </p:nvSpPr>
              <p:spPr bwMode="black">
                <a:xfrm>
                  <a:off x="10788343" y="4073797"/>
                  <a:ext cx="184315" cy="17152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D83B01"/>
                </a:solidFill>
                <a:ln>
                  <a:noFill/>
                </a:ln>
                <a:extLst/>
              </p:spPr>
              <p:txBody>
                <a:bodyPr vert="horz" wrap="square" lIns="91388" tIns="45693" rIns="91388" bIns="45693" numCol="1" anchor="t" anchorCtr="0" compatLnSpc="1">
                  <a:prstTxWarp prst="textNoShape">
                    <a:avLst/>
                  </a:prstTxWarp>
                </a:bodyPr>
                <a:lstStyle/>
                <a:p>
                  <a:pPr marL="0" marR="0" lvl="0" indent="0" defTabSz="932143"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a:endParaRPr>
                </a:p>
              </p:txBody>
            </p:sp>
            <p:sp>
              <p:nvSpPr>
                <p:cNvPr id="211" name="Freeform 144">
                  <a:extLst>
                    <a:ext uri="{FF2B5EF4-FFF2-40B4-BE49-F238E27FC236}">
                      <a16:creationId xmlns:a16="http://schemas.microsoft.com/office/drawing/2014/main" id="{BE455006-75E5-4CCA-A5B2-C5326721CA7B}"/>
                    </a:ext>
                  </a:extLst>
                </p:cNvPr>
                <p:cNvSpPr>
                  <a:spLocks noChangeAspect="1" noEditPoints="1"/>
                </p:cNvSpPr>
                <p:nvPr/>
              </p:nvSpPr>
              <p:spPr bwMode="black">
                <a:xfrm>
                  <a:off x="11145874" y="4115754"/>
                  <a:ext cx="229768" cy="201698"/>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D83B01"/>
                </a:solidFill>
                <a:ln>
                  <a:noFill/>
                </a:ln>
                <a:extLst/>
              </p:spPr>
              <p:txBody>
                <a:bodyPr vert="horz" wrap="square" lIns="91388" tIns="45693" rIns="91388" bIns="45693" numCol="1" anchor="t" anchorCtr="0" compatLnSpc="1">
                  <a:prstTxWarp prst="textNoShape">
                    <a:avLst/>
                  </a:prstTxWarp>
                </a:bodyPr>
                <a:lstStyle/>
                <a:p>
                  <a:pPr marL="0" marR="0" lvl="0" indent="0" defTabSz="932143"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a:endParaRPr>
                </a:p>
              </p:txBody>
            </p:sp>
            <p:sp>
              <p:nvSpPr>
                <p:cNvPr id="212" name="Freeform 109">
                  <a:extLst>
                    <a:ext uri="{FF2B5EF4-FFF2-40B4-BE49-F238E27FC236}">
                      <a16:creationId xmlns:a16="http://schemas.microsoft.com/office/drawing/2014/main" id="{91B96C28-8116-4C0B-A259-F77CB7F8A9AA}"/>
                    </a:ext>
                  </a:extLst>
                </p:cNvPr>
                <p:cNvSpPr>
                  <a:spLocks noChangeAspect="1" noEditPoints="1"/>
                </p:cNvSpPr>
                <p:nvPr/>
              </p:nvSpPr>
              <p:spPr bwMode="black">
                <a:xfrm>
                  <a:off x="10034228" y="4071987"/>
                  <a:ext cx="207737" cy="157624"/>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D83B01"/>
                </a:solidFill>
                <a:ln>
                  <a:noFill/>
                </a:ln>
                <a:extLst/>
              </p:spPr>
              <p:txBody>
                <a:bodyPr vert="horz" wrap="square" lIns="93225" tIns="46611" rIns="93225" bIns="46611" numCol="1" anchor="t" anchorCtr="0" compatLnSpc="1">
                  <a:prstTxWarp prst="textNoShape">
                    <a:avLst/>
                  </a:prstTxWarp>
                </a:bodyPr>
                <a:lstStyle/>
                <a:p>
                  <a:pPr marL="0" marR="0" lvl="0" indent="0" defTabSz="932143"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000000"/>
                    </a:solidFill>
                    <a:effectLst/>
                    <a:uLnTx/>
                    <a:uFillTx/>
                    <a:latin typeface="Segoe UI"/>
                  </a:endParaRPr>
                </a:p>
              </p:txBody>
            </p:sp>
            <p:grpSp>
              <p:nvGrpSpPr>
                <p:cNvPr id="213" name="Group 47">
                  <a:extLst>
                    <a:ext uri="{FF2B5EF4-FFF2-40B4-BE49-F238E27FC236}">
                      <a16:creationId xmlns:a16="http://schemas.microsoft.com/office/drawing/2014/main" id="{6222F2E2-1C0A-4F9A-BDA1-96FEE1ED8327}"/>
                    </a:ext>
                  </a:extLst>
                </p:cNvPr>
                <p:cNvGrpSpPr>
                  <a:grpSpLocks noChangeAspect="1"/>
                </p:cNvGrpSpPr>
                <p:nvPr/>
              </p:nvGrpSpPr>
              <p:grpSpPr bwMode="auto">
                <a:xfrm>
                  <a:off x="10415183" y="4042824"/>
                  <a:ext cx="199942" cy="195073"/>
                  <a:chOff x="5" y="-221"/>
                  <a:chExt cx="544" cy="568"/>
                </a:xfrm>
                <a:solidFill>
                  <a:srgbClr val="D83B01"/>
                </a:solidFill>
              </p:grpSpPr>
              <p:sp>
                <p:nvSpPr>
                  <p:cNvPr id="214" name="Freeform 48">
                    <a:extLst>
                      <a:ext uri="{FF2B5EF4-FFF2-40B4-BE49-F238E27FC236}">
                        <a16:creationId xmlns:a16="http://schemas.microsoft.com/office/drawing/2014/main" id="{60CEC969-86A0-40AC-9686-2A96CA0F4206}"/>
                      </a:ext>
                    </a:extLst>
                  </p:cNvPr>
                  <p:cNvSpPr>
                    <a:spLocks/>
                  </p:cNvSpPr>
                  <p:nvPr/>
                </p:nvSpPr>
                <p:spPr bwMode="auto">
                  <a:xfrm>
                    <a:off x="26" y="-107"/>
                    <a:ext cx="498" cy="454"/>
                  </a:xfrm>
                  <a:custGeom>
                    <a:avLst/>
                    <a:gdLst>
                      <a:gd name="T0" fmla="*/ 0 w 498"/>
                      <a:gd name="T1" fmla="*/ 67 h 454"/>
                      <a:gd name="T2" fmla="*/ 52 w 498"/>
                      <a:gd name="T3" fmla="*/ 0 h 454"/>
                      <a:gd name="T4" fmla="*/ 255 w 498"/>
                      <a:gd name="T5" fmla="*/ 162 h 454"/>
                      <a:gd name="T6" fmla="*/ 436 w 498"/>
                      <a:gd name="T7" fmla="*/ 0 h 454"/>
                      <a:gd name="T8" fmla="*/ 498 w 498"/>
                      <a:gd name="T9" fmla="*/ 67 h 454"/>
                      <a:gd name="T10" fmla="*/ 290 w 498"/>
                      <a:gd name="T11" fmla="*/ 200 h 454"/>
                      <a:gd name="T12" fmla="*/ 298 w 498"/>
                      <a:gd name="T13" fmla="*/ 454 h 454"/>
                      <a:gd name="T14" fmla="*/ 209 w 498"/>
                      <a:gd name="T15" fmla="*/ 454 h 454"/>
                      <a:gd name="T16" fmla="*/ 217 w 498"/>
                      <a:gd name="T17" fmla="*/ 200 h 454"/>
                      <a:gd name="T18" fmla="*/ 0 w 498"/>
                      <a:gd name="T19" fmla="*/ 6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454">
                        <a:moveTo>
                          <a:pt x="0" y="67"/>
                        </a:moveTo>
                        <a:lnTo>
                          <a:pt x="52" y="0"/>
                        </a:lnTo>
                        <a:lnTo>
                          <a:pt x="255" y="162"/>
                        </a:lnTo>
                        <a:lnTo>
                          <a:pt x="436" y="0"/>
                        </a:lnTo>
                        <a:lnTo>
                          <a:pt x="498" y="67"/>
                        </a:lnTo>
                        <a:lnTo>
                          <a:pt x="290" y="200"/>
                        </a:lnTo>
                        <a:lnTo>
                          <a:pt x="298" y="454"/>
                        </a:lnTo>
                        <a:lnTo>
                          <a:pt x="209" y="454"/>
                        </a:lnTo>
                        <a:lnTo>
                          <a:pt x="217" y="200"/>
                        </a:ln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15" name="Freeform 49">
                    <a:extLst>
                      <a:ext uri="{FF2B5EF4-FFF2-40B4-BE49-F238E27FC236}">
                        <a16:creationId xmlns:a16="http://schemas.microsoft.com/office/drawing/2014/main" id="{DE31F92A-333A-45FD-9B37-82473B0CDAAA}"/>
                      </a:ext>
                    </a:extLst>
                  </p:cNvPr>
                  <p:cNvSpPr>
                    <a:spLocks/>
                  </p:cNvSpPr>
                  <p:nvPr/>
                </p:nvSpPr>
                <p:spPr bwMode="auto">
                  <a:xfrm>
                    <a:off x="5" y="95"/>
                    <a:ext cx="205" cy="201"/>
                  </a:xfrm>
                  <a:custGeom>
                    <a:avLst/>
                    <a:gdLst>
                      <a:gd name="T0" fmla="*/ 205 w 205"/>
                      <a:gd name="T1" fmla="*/ 41 h 201"/>
                      <a:gd name="T2" fmla="*/ 43 w 205"/>
                      <a:gd name="T3" fmla="*/ 201 h 201"/>
                      <a:gd name="T4" fmla="*/ 0 w 205"/>
                      <a:gd name="T5" fmla="*/ 149 h 201"/>
                      <a:gd name="T6" fmla="*/ 184 w 205"/>
                      <a:gd name="T7" fmla="*/ 0 h 201"/>
                      <a:gd name="T8" fmla="*/ 205 w 205"/>
                      <a:gd name="T9" fmla="*/ 14 h 201"/>
                      <a:gd name="T10" fmla="*/ 205 w 205"/>
                      <a:gd name="T11" fmla="*/ 41 h 201"/>
                    </a:gdLst>
                    <a:ahLst/>
                    <a:cxnLst>
                      <a:cxn ang="0">
                        <a:pos x="T0" y="T1"/>
                      </a:cxn>
                      <a:cxn ang="0">
                        <a:pos x="T2" y="T3"/>
                      </a:cxn>
                      <a:cxn ang="0">
                        <a:pos x="T4" y="T5"/>
                      </a:cxn>
                      <a:cxn ang="0">
                        <a:pos x="T6" y="T7"/>
                      </a:cxn>
                      <a:cxn ang="0">
                        <a:pos x="T8" y="T9"/>
                      </a:cxn>
                      <a:cxn ang="0">
                        <a:pos x="T10" y="T11"/>
                      </a:cxn>
                    </a:cxnLst>
                    <a:rect l="0" t="0" r="r" b="b"/>
                    <a:pathLst>
                      <a:path w="205" h="201">
                        <a:moveTo>
                          <a:pt x="205" y="41"/>
                        </a:moveTo>
                        <a:lnTo>
                          <a:pt x="43" y="201"/>
                        </a:lnTo>
                        <a:lnTo>
                          <a:pt x="0" y="149"/>
                        </a:lnTo>
                        <a:lnTo>
                          <a:pt x="184" y="0"/>
                        </a:lnTo>
                        <a:lnTo>
                          <a:pt x="205" y="14"/>
                        </a:lnTo>
                        <a:lnTo>
                          <a:pt x="20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16" name="Freeform 50">
                    <a:extLst>
                      <a:ext uri="{FF2B5EF4-FFF2-40B4-BE49-F238E27FC236}">
                        <a16:creationId xmlns:a16="http://schemas.microsoft.com/office/drawing/2014/main" id="{03AD53F0-C6E1-4512-90DB-204CFC842BA6}"/>
                      </a:ext>
                    </a:extLst>
                  </p:cNvPr>
                  <p:cNvSpPr>
                    <a:spLocks/>
                  </p:cNvSpPr>
                  <p:nvPr/>
                </p:nvSpPr>
                <p:spPr bwMode="auto">
                  <a:xfrm>
                    <a:off x="343" y="95"/>
                    <a:ext cx="206" cy="201"/>
                  </a:xfrm>
                  <a:custGeom>
                    <a:avLst/>
                    <a:gdLst>
                      <a:gd name="T0" fmla="*/ 0 w 206"/>
                      <a:gd name="T1" fmla="*/ 41 h 201"/>
                      <a:gd name="T2" fmla="*/ 160 w 206"/>
                      <a:gd name="T3" fmla="*/ 201 h 201"/>
                      <a:gd name="T4" fmla="*/ 206 w 206"/>
                      <a:gd name="T5" fmla="*/ 149 h 201"/>
                      <a:gd name="T6" fmla="*/ 16 w 206"/>
                      <a:gd name="T7" fmla="*/ 0 h 201"/>
                      <a:gd name="T8" fmla="*/ 0 w 206"/>
                      <a:gd name="T9" fmla="*/ 14 h 201"/>
                      <a:gd name="T10" fmla="*/ 0 w 206"/>
                      <a:gd name="T11" fmla="*/ 41 h 201"/>
                    </a:gdLst>
                    <a:ahLst/>
                    <a:cxnLst>
                      <a:cxn ang="0">
                        <a:pos x="T0" y="T1"/>
                      </a:cxn>
                      <a:cxn ang="0">
                        <a:pos x="T2" y="T3"/>
                      </a:cxn>
                      <a:cxn ang="0">
                        <a:pos x="T4" y="T5"/>
                      </a:cxn>
                      <a:cxn ang="0">
                        <a:pos x="T6" y="T7"/>
                      </a:cxn>
                      <a:cxn ang="0">
                        <a:pos x="T8" y="T9"/>
                      </a:cxn>
                      <a:cxn ang="0">
                        <a:pos x="T10" y="T11"/>
                      </a:cxn>
                    </a:cxnLst>
                    <a:rect l="0" t="0" r="r" b="b"/>
                    <a:pathLst>
                      <a:path w="206" h="201">
                        <a:moveTo>
                          <a:pt x="0" y="41"/>
                        </a:moveTo>
                        <a:lnTo>
                          <a:pt x="160" y="201"/>
                        </a:lnTo>
                        <a:lnTo>
                          <a:pt x="206" y="149"/>
                        </a:lnTo>
                        <a:lnTo>
                          <a:pt x="16" y="0"/>
                        </a:lnTo>
                        <a:lnTo>
                          <a:pt x="0" y="14"/>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sp>
                <p:nvSpPr>
                  <p:cNvPr id="217" name="Freeform 51">
                    <a:extLst>
                      <a:ext uri="{FF2B5EF4-FFF2-40B4-BE49-F238E27FC236}">
                        <a16:creationId xmlns:a16="http://schemas.microsoft.com/office/drawing/2014/main" id="{3C6D42FF-A912-40DE-B259-B9A4E08EE99B}"/>
                      </a:ext>
                    </a:extLst>
                  </p:cNvPr>
                  <p:cNvSpPr>
                    <a:spLocks/>
                  </p:cNvSpPr>
                  <p:nvPr/>
                </p:nvSpPr>
                <p:spPr bwMode="auto">
                  <a:xfrm>
                    <a:off x="240" y="-221"/>
                    <a:ext cx="71" cy="241"/>
                  </a:xfrm>
                  <a:custGeom>
                    <a:avLst/>
                    <a:gdLst>
                      <a:gd name="T0" fmla="*/ 57 w 71"/>
                      <a:gd name="T1" fmla="*/ 219 h 241"/>
                      <a:gd name="T2" fmla="*/ 71 w 71"/>
                      <a:gd name="T3" fmla="*/ 0 h 241"/>
                      <a:gd name="T4" fmla="*/ 0 w 71"/>
                      <a:gd name="T5" fmla="*/ 0 h 241"/>
                      <a:gd name="T6" fmla="*/ 14 w 71"/>
                      <a:gd name="T7" fmla="*/ 222 h 241"/>
                      <a:gd name="T8" fmla="*/ 35 w 71"/>
                      <a:gd name="T9" fmla="*/ 241 h 241"/>
                      <a:gd name="T10" fmla="*/ 57 w 71"/>
                      <a:gd name="T11" fmla="*/ 219 h 241"/>
                    </a:gdLst>
                    <a:ahLst/>
                    <a:cxnLst>
                      <a:cxn ang="0">
                        <a:pos x="T0" y="T1"/>
                      </a:cxn>
                      <a:cxn ang="0">
                        <a:pos x="T2" y="T3"/>
                      </a:cxn>
                      <a:cxn ang="0">
                        <a:pos x="T4" y="T5"/>
                      </a:cxn>
                      <a:cxn ang="0">
                        <a:pos x="T6" y="T7"/>
                      </a:cxn>
                      <a:cxn ang="0">
                        <a:pos x="T8" y="T9"/>
                      </a:cxn>
                      <a:cxn ang="0">
                        <a:pos x="T10" y="T11"/>
                      </a:cxn>
                    </a:cxnLst>
                    <a:rect l="0" t="0" r="r" b="b"/>
                    <a:pathLst>
                      <a:path w="71" h="241">
                        <a:moveTo>
                          <a:pt x="57" y="219"/>
                        </a:moveTo>
                        <a:lnTo>
                          <a:pt x="71" y="0"/>
                        </a:lnTo>
                        <a:lnTo>
                          <a:pt x="0" y="0"/>
                        </a:lnTo>
                        <a:lnTo>
                          <a:pt x="14" y="222"/>
                        </a:lnTo>
                        <a:lnTo>
                          <a:pt x="35" y="241"/>
                        </a:lnTo>
                        <a:lnTo>
                          <a:pt x="5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marL="0" marR="0" lvl="0" indent="0" defTabSz="93217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grpSp>
          <p:sp>
            <p:nvSpPr>
              <p:cNvPr id="191" name="Freeform 15">
                <a:extLst>
                  <a:ext uri="{FF2B5EF4-FFF2-40B4-BE49-F238E27FC236}">
                    <a16:creationId xmlns:a16="http://schemas.microsoft.com/office/drawing/2014/main" id="{4E391F29-7A0B-4FE6-93F4-D7168C844E70}"/>
                  </a:ext>
                </a:extLst>
              </p:cNvPr>
              <p:cNvSpPr>
                <a:spLocks noEditPoints="1"/>
              </p:cNvSpPr>
              <p:nvPr/>
            </p:nvSpPr>
            <p:spPr bwMode="auto">
              <a:xfrm>
                <a:off x="9924954" y="4274772"/>
                <a:ext cx="601113" cy="378140"/>
              </a:xfrm>
              <a:custGeom>
                <a:avLst/>
                <a:gdLst>
                  <a:gd name="T0" fmla="*/ 180 w 192"/>
                  <a:gd name="T1" fmla="*/ 62 h 120"/>
                  <a:gd name="T2" fmla="*/ 180 w 192"/>
                  <a:gd name="T3" fmla="*/ 60 h 120"/>
                  <a:gd name="T4" fmla="*/ 144 w 192"/>
                  <a:gd name="T5" fmla="*/ 24 h 120"/>
                  <a:gd name="T6" fmla="*/ 140 w 192"/>
                  <a:gd name="T7" fmla="*/ 24 h 120"/>
                  <a:gd name="T8" fmla="*/ 102 w 192"/>
                  <a:gd name="T9" fmla="*/ 0 h 120"/>
                  <a:gd name="T10" fmla="*/ 60 w 192"/>
                  <a:gd name="T11" fmla="*/ 36 h 120"/>
                  <a:gd name="T12" fmla="*/ 34 w 192"/>
                  <a:gd name="T13" fmla="*/ 48 h 120"/>
                  <a:gd name="T14" fmla="*/ 0 w 192"/>
                  <a:gd name="T15" fmla="*/ 84 h 120"/>
                  <a:gd name="T16" fmla="*/ 36 w 192"/>
                  <a:gd name="T17" fmla="*/ 120 h 120"/>
                  <a:gd name="T18" fmla="*/ 156 w 192"/>
                  <a:gd name="T19" fmla="*/ 120 h 120"/>
                  <a:gd name="T20" fmla="*/ 159 w 192"/>
                  <a:gd name="T21" fmla="*/ 120 h 120"/>
                  <a:gd name="T22" fmla="*/ 192 w 192"/>
                  <a:gd name="T23" fmla="*/ 87 h 120"/>
                  <a:gd name="T24" fmla="*/ 180 w 192"/>
                  <a:gd name="T25" fmla="*/ 62 h 120"/>
                  <a:gd name="T26" fmla="*/ 159 w 192"/>
                  <a:gd name="T27" fmla="*/ 108 h 120"/>
                  <a:gd name="T28" fmla="*/ 156 w 192"/>
                  <a:gd name="T29" fmla="*/ 108 h 120"/>
                  <a:gd name="T30" fmla="*/ 156 w 192"/>
                  <a:gd name="T31" fmla="*/ 108 h 120"/>
                  <a:gd name="T32" fmla="*/ 36 w 192"/>
                  <a:gd name="T33" fmla="*/ 108 h 120"/>
                  <a:gd name="T34" fmla="*/ 12 w 192"/>
                  <a:gd name="T35" fmla="*/ 84 h 120"/>
                  <a:gd name="T36" fmla="*/ 36 w 192"/>
                  <a:gd name="T37" fmla="*/ 60 h 120"/>
                  <a:gd name="T38" fmla="*/ 40 w 192"/>
                  <a:gd name="T39" fmla="*/ 60 h 120"/>
                  <a:gd name="T40" fmla="*/ 61 w 192"/>
                  <a:gd name="T41" fmla="*/ 48 h 120"/>
                  <a:gd name="T42" fmla="*/ 74 w 192"/>
                  <a:gd name="T43" fmla="*/ 51 h 120"/>
                  <a:gd name="T44" fmla="*/ 72 w 192"/>
                  <a:gd name="T45" fmla="*/ 42 h 120"/>
                  <a:gd name="T46" fmla="*/ 102 w 192"/>
                  <a:gd name="T47" fmla="*/ 12 h 120"/>
                  <a:gd name="T48" fmla="*/ 132 w 192"/>
                  <a:gd name="T49" fmla="*/ 39 h 120"/>
                  <a:gd name="T50" fmla="*/ 144 w 192"/>
                  <a:gd name="T51" fmla="*/ 36 h 120"/>
                  <a:gd name="T52" fmla="*/ 168 w 192"/>
                  <a:gd name="T53" fmla="*/ 60 h 120"/>
                  <a:gd name="T54" fmla="*/ 167 w 192"/>
                  <a:gd name="T55" fmla="*/ 67 h 120"/>
                  <a:gd name="T56" fmla="*/ 180 w 192"/>
                  <a:gd name="T57" fmla="*/ 87 h 120"/>
                  <a:gd name="T58" fmla="*/ 159 w 192"/>
                  <a:gd name="T5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 h="120">
                    <a:moveTo>
                      <a:pt x="180" y="62"/>
                    </a:moveTo>
                    <a:cubicBezTo>
                      <a:pt x="180" y="61"/>
                      <a:pt x="180" y="61"/>
                      <a:pt x="180" y="60"/>
                    </a:cubicBezTo>
                    <a:cubicBezTo>
                      <a:pt x="180" y="40"/>
                      <a:pt x="164" y="24"/>
                      <a:pt x="144" y="24"/>
                    </a:cubicBezTo>
                    <a:cubicBezTo>
                      <a:pt x="143" y="24"/>
                      <a:pt x="141" y="24"/>
                      <a:pt x="140" y="24"/>
                    </a:cubicBezTo>
                    <a:cubicBezTo>
                      <a:pt x="133" y="10"/>
                      <a:pt x="119" y="0"/>
                      <a:pt x="102" y="0"/>
                    </a:cubicBezTo>
                    <a:cubicBezTo>
                      <a:pt x="81" y="0"/>
                      <a:pt x="63" y="16"/>
                      <a:pt x="60" y="36"/>
                    </a:cubicBezTo>
                    <a:cubicBezTo>
                      <a:pt x="50" y="36"/>
                      <a:pt x="41" y="41"/>
                      <a:pt x="34" y="48"/>
                    </a:cubicBezTo>
                    <a:cubicBezTo>
                      <a:pt x="15" y="49"/>
                      <a:pt x="0" y="65"/>
                      <a:pt x="0" y="84"/>
                    </a:cubicBezTo>
                    <a:cubicBezTo>
                      <a:pt x="0" y="104"/>
                      <a:pt x="16" y="120"/>
                      <a:pt x="36" y="120"/>
                    </a:cubicBezTo>
                    <a:cubicBezTo>
                      <a:pt x="156" y="120"/>
                      <a:pt x="156" y="120"/>
                      <a:pt x="156" y="120"/>
                    </a:cubicBezTo>
                    <a:cubicBezTo>
                      <a:pt x="159" y="120"/>
                      <a:pt x="159" y="120"/>
                      <a:pt x="159" y="120"/>
                    </a:cubicBezTo>
                    <a:cubicBezTo>
                      <a:pt x="178" y="120"/>
                      <a:pt x="192" y="106"/>
                      <a:pt x="192" y="87"/>
                    </a:cubicBezTo>
                    <a:cubicBezTo>
                      <a:pt x="192" y="77"/>
                      <a:pt x="187" y="68"/>
                      <a:pt x="180" y="62"/>
                    </a:cubicBezTo>
                    <a:close/>
                    <a:moveTo>
                      <a:pt x="159" y="108"/>
                    </a:moveTo>
                    <a:cubicBezTo>
                      <a:pt x="157" y="108"/>
                      <a:pt x="156" y="108"/>
                      <a:pt x="156" y="108"/>
                    </a:cubicBezTo>
                    <a:cubicBezTo>
                      <a:pt x="156" y="108"/>
                      <a:pt x="156" y="108"/>
                      <a:pt x="156" y="108"/>
                    </a:cubicBezTo>
                    <a:cubicBezTo>
                      <a:pt x="36" y="108"/>
                      <a:pt x="36" y="108"/>
                      <a:pt x="36" y="108"/>
                    </a:cubicBezTo>
                    <a:cubicBezTo>
                      <a:pt x="23" y="108"/>
                      <a:pt x="12" y="97"/>
                      <a:pt x="12" y="84"/>
                    </a:cubicBezTo>
                    <a:cubicBezTo>
                      <a:pt x="12" y="71"/>
                      <a:pt x="23" y="60"/>
                      <a:pt x="36" y="60"/>
                    </a:cubicBezTo>
                    <a:cubicBezTo>
                      <a:pt x="37" y="60"/>
                      <a:pt x="39" y="60"/>
                      <a:pt x="40" y="60"/>
                    </a:cubicBezTo>
                    <a:cubicBezTo>
                      <a:pt x="44" y="53"/>
                      <a:pt x="52" y="48"/>
                      <a:pt x="61" y="48"/>
                    </a:cubicBezTo>
                    <a:cubicBezTo>
                      <a:pt x="66" y="48"/>
                      <a:pt x="70" y="49"/>
                      <a:pt x="74" y="51"/>
                    </a:cubicBezTo>
                    <a:cubicBezTo>
                      <a:pt x="73" y="48"/>
                      <a:pt x="72" y="45"/>
                      <a:pt x="72" y="42"/>
                    </a:cubicBezTo>
                    <a:cubicBezTo>
                      <a:pt x="72" y="25"/>
                      <a:pt x="85" y="12"/>
                      <a:pt x="102" y="12"/>
                    </a:cubicBezTo>
                    <a:cubicBezTo>
                      <a:pt x="118" y="12"/>
                      <a:pt x="130" y="24"/>
                      <a:pt x="132" y="39"/>
                    </a:cubicBezTo>
                    <a:cubicBezTo>
                      <a:pt x="135" y="37"/>
                      <a:pt x="139" y="36"/>
                      <a:pt x="144" y="36"/>
                    </a:cubicBezTo>
                    <a:cubicBezTo>
                      <a:pt x="157" y="36"/>
                      <a:pt x="168" y="47"/>
                      <a:pt x="168" y="60"/>
                    </a:cubicBezTo>
                    <a:cubicBezTo>
                      <a:pt x="168" y="63"/>
                      <a:pt x="167" y="65"/>
                      <a:pt x="167" y="67"/>
                    </a:cubicBezTo>
                    <a:cubicBezTo>
                      <a:pt x="174" y="71"/>
                      <a:pt x="180" y="78"/>
                      <a:pt x="180" y="87"/>
                    </a:cubicBezTo>
                    <a:cubicBezTo>
                      <a:pt x="180" y="99"/>
                      <a:pt x="171" y="108"/>
                      <a:pt x="159" y="108"/>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192" name="Freeform 24">
                <a:extLst>
                  <a:ext uri="{FF2B5EF4-FFF2-40B4-BE49-F238E27FC236}">
                    <a16:creationId xmlns:a16="http://schemas.microsoft.com/office/drawing/2014/main" id="{5F589A0D-F905-4584-84CF-16046372E35F}"/>
                  </a:ext>
                </a:extLst>
              </p:cNvPr>
              <p:cNvSpPr>
                <a:spLocks noEditPoints="1"/>
              </p:cNvSpPr>
              <p:nvPr/>
            </p:nvSpPr>
            <p:spPr bwMode="auto">
              <a:xfrm>
                <a:off x="9178662" y="4223125"/>
                <a:ext cx="242276" cy="19735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nvGrpSpPr>
              <p:cNvPr id="193" name="Group 4">
                <a:extLst>
                  <a:ext uri="{FF2B5EF4-FFF2-40B4-BE49-F238E27FC236}">
                    <a16:creationId xmlns:a16="http://schemas.microsoft.com/office/drawing/2014/main" id="{41F68F5C-A45E-48B9-8AD8-4EF921CF91F4}"/>
                  </a:ext>
                </a:extLst>
              </p:cNvPr>
              <p:cNvGrpSpPr>
                <a:grpSpLocks noChangeAspect="1"/>
              </p:cNvGrpSpPr>
              <p:nvPr/>
            </p:nvGrpSpPr>
            <p:grpSpPr bwMode="auto">
              <a:xfrm>
                <a:off x="11137126" y="4217160"/>
                <a:ext cx="145748" cy="203316"/>
                <a:chOff x="6073" y="1685"/>
                <a:chExt cx="319" cy="445"/>
              </a:xfrm>
              <a:solidFill>
                <a:srgbClr val="D83B01"/>
              </a:solidFill>
            </p:grpSpPr>
            <p:sp>
              <p:nvSpPr>
                <p:cNvPr id="207" name="Freeform 5">
                  <a:extLst>
                    <a:ext uri="{FF2B5EF4-FFF2-40B4-BE49-F238E27FC236}">
                      <a16:creationId xmlns:a16="http://schemas.microsoft.com/office/drawing/2014/main" id="{996DF104-1CD3-4D4F-A1D8-06422CB3ADFA}"/>
                    </a:ext>
                  </a:extLst>
                </p:cNvPr>
                <p:cNvSpPr>
                  <a:spLocks noEditPoints="1"/>
                </p:cNvSpPr>
                <p:nvPr userDrawn="1"/>
              </p:nvSpPr>
              <p:spPr bwMode="auto">
                <a:xfrm>
                  <a:off x="6073" y="1685"/>
                  <a:ext cx="319" cy="445"/>
                </a:xfrm>
                <a:custGeom>
                  <a:avLst/>
                  <a:gdLst>
                    <a:gd name="T0" fmla="*/ 66 w 132"/>
                    <a:gd name="T1" fmla="*/ 0 h 185"/>
                    <a:gd name="T2" fmla="*/ 0 w 132"/>
                    <a:gd name="T3" fmla="*/ 36 h 185"/>
                    <a:gd name="T4" fmla="*/ 0 w 132"/>
                    <a:gd name="T5" fmla="*/ 150 h 185"/>
                    <a:gd name="T6" fmla="*/ 66 w 132"/>
                    <a:gd name="T7" fmla="*/ 185 h 185"/>
                    <a:gd name="T8" fmla="*/ 132 w 132"/>
                    <a:gd name="T9" fmla="*/ 149 h 185"/>
                    <a:gd name="T10" fmla="*/ 132 w 132"/>
                    <a:gd name="T11" fmla="*/ 35 h 185"/>
                    <a:gd name="T12" fmla="*/ 66 w 132"/>
                    <a:gd name="T13" fmla="*/ 0 h 185"/>
                    <a:gd name="T14" fmla="*/ 120 w 132"/>
                    <a:gd name="T15" fmla="*/ 149 h 185"/>
                    <a:gd name="T16" fmla="*/ 66 w 132"/>
                    <a:gd name="T17" fmla="*/ 173 h 185"/>
                    <a:gd name="T18" fmla="*/ 12 w 132"/>
                    <a:gd name="T19" fmla="*/ 150 h 185"/>
                    <a:gd name="T20" fmla="*/ 12 w 132"/>
                    <a:gd name="T21" fmla="*/ 36 h 185"/>
                    <a:gd name="T22" fmla="*/ 66 w 132"/>
                    <a:gd name="T23" fmla="*/ 12 h 185"/>
                    <a:gd name="T24" fmla="*/ 120 w 132"/>
                    <a:gd name="T25" fmla="*/ 35 h 185"/>
                    <a:gd name="T26" fmla="*/ 120 w 132"/>
                    <a:gd name="T27" fmla="*/ 14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85">
                      <a:moveTo>
                        <a:pt x="66" y="0"/>
                      </a:moveTo>
                      <a:cubicBezTo>
                        <a:pt x="39" y="0"/>
                        <a:pt x="0" y="14"/>
                        <a:pt x="0" y="36"/>
                      </a:cubicBezTo>
                      <a:cubicBezTo>
                        <a:pt x="0" y="150"/>
                        <a:pt x="0" y="150"/>
                        <a:pt x="0" y="150"/>
                      </a:cubicBezTo>
                      <a:cubicBezTo>
                        <a:pt x="0" y="172"/>
                        <a:pt x="38" y="185"/>
                        <a:pt x="66" y="185"/>
                      </a:cubicBezTo>
                      <a:cubicBezTo>
                        <a:pt x="93" y="185"/>
                        <a:pt x="132" y="171"/>
                        <a:pt x="132" y="149"/>
                      </a:cubicBezTo>
                      <a:cubicBezTo>
                        <a:pt x="132" y="35"/>
                        <a:pt x="132" y="35"/>
                        <a:pt x="132" y="35"/>
                      </a:cubicBezTo>
                      <a:cubicBezTo>
                        <a:pt x="132" y="13"/>
                        <a:pt x="94" y="0"/>
                        <a:pt x="66" y="0"/>
                      </a:cubicBezTo>
                      <a:close/>
                      <a:moveTo>
                        <a:pt x="120" y="149"/>
                      </a:moveTo>
                      <a:cubicBezTo>
                        <a:pt x="120" y="160"/>
                        <a:pt x="91" y="173"/>
                        <a:pt x="66" y="173"/>
                      </a:cubicBezTo>
                      <a:cubicBezTo>
                        <a:pt x="41" y="173"/>
                        <a:pt x="12" y="161"/>
                        <a:pt x="12" y="150"/>
                      </a:cubicBezTo>
                      <a:cubicBezTo>
                        <a:pt x="12" y="36"/>
                        <a:pt x="12" y="36"/>
                        <a:pt x="12" y="36"/>
                      </a:cubicBezTo>
                      <a:cubicBezTo>
                        <a:pt x="12" y="25"/>
                        <a:pt x="41" y="12"/>
                        <a:pt x="66" y="12"/>
                      </a:cubicBezTo>
                      <a:cubicBezTo>
                        <a:pt x="91" y="12"/>
                        <a:pt x="120" y="24"/>
                        <a:pt x="120" y="35"/>
                      </a:cubicBezTo>
                      <a:lnTo>
                        <a:pt x="120"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08" name="Oval 6">
                  <a:extLst>
                    <a:ext uri="{FF2B5EF4-FFF2-40B4-BE49-F238E27FC236}">
                      <a16:creationId xmlns:a16="http://schemas.microsoft.com/office/drawing/2014/main" id="{36685900-AA92-46D4-89F5-E2F1C08A6E81}"/>
                    </a:ext>
                  </a:extLst>
                </p:cNvPr>
                <p:cNvSpPr>
                  <a:spLocks noChangeArrowheads="1"/>
                </p:cNvSpPr>
                <p:nvPr userDrawn="1"/>
              </p:nvSpPr>
              <p:spPr bwMode="auto">
                <a:xfrm>
                  <a:off x="6135" y="1743"/>
                  <a:ext cx="203"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cxnSp>
            <p:nvCxnSpPr>
              <p:cNvPr id="194" name="Straight Connector 193">
                <a:extLst>
                  <a:ext uri="{FF2B5EF4-FFF2-40B4-BE49-F238E27FC236}">
                    <a16:creationId xmlns:a16="http://schemas.microsoft.com/office/drawing/2014/main" id="{793DDEF5-90FE-4752-97AE-B0CC30ADA16E}"/>
                  </a:ext>
                </a:extLst>
              </p:cNvPr>
              <p:cNvCxnSpPr/>
              <p:nvPr/>
            </p:nvCxnSpPr>
            <p:spPr>
              <a:xfrm>
                <a:off x="9498351" y="4217160"/>
                <a:ext cx="444097" cy="246682"/>
              </a:xfrm>
              <a:prstGeom prst="line">
                <a:avLst/>
              </a:prstGeom>
              <a:noFill/>
              <a:ln w="22225" cap="rnd" cmpd="sng" algn="ctr">
                <a:solidFill>
                  <a:srgbClr val="D83B01"/>
                </a:solidFill>
                <a:prstDash val="sysDot"/>
                <a:headEnd type="none" w="med" len="med"/>
                <a:tailEnd type="none" w="med" len="med"/>
              </a:ln>
              <a:effectLst/>
            </p:spPr>
          </p:cxnSp>
          <p:cxnSp>
            <p:nvCxnSpPr>
              <p:cNvPr id="195" name="Straight Connector 194">
                <a:extLst>
                  <a:ext uri="{FF2B5EF4-FFF2-40B4-BE49-F238E27FC236}">
                    <a16:creationId xmlns:a16="http://schemas.microsoft.com/office/drawing/2014/main" id="{613225CB-D81C-4330-B01C-865D7BABA5F8}"/>
                  </a:ext>
                </a:extLst>
              </p:cNvPr>
              <p:cNvCxnSpPr>
                <a:endCxn id="191" idx="6"/>
              </p:cNvCxnSpPr>
              <p:nvPr/>
            </p:nvCxnSpPr>
            <p:spPr>
              <a:xfrm>
                <a:off x="9879010" y="4154669"/>
                <a:ext cx="152391" cy="271359"/>
              </a:xfrm>
              <a:prstGeom prst="line">
                <a:avLst/>
              </a:prstGeom>
              <a:noFill/>
              <a:ln w="22225" cap="rnd" cmpd="sng" algn="ctr">
                <a:solidFill>
                  <a:srgbClr val="D83B01"/>
                </a:solidFill>
                <a:prstDash val="sysDot"/>
                <a:headEnd type="none" w="med" len="med"/>
                <a:tailEnd type="none" w="med" len="med"/>
              </a:ln>
              <a:effectLst/>
            </p:spPr>
          </p:cxnSp>
          <p:cxnSp>
            <p:nvCxnSpPr>
              <p:cNvPr id="196" name="Straight Connector 195">
                <a:extLst>
                  <a:ext uri="{FF2B5EF4-FFF2-40B4-BE49-F238E27FC236}">
                    <a16:creationId xmlns:a16="http://schemas.microsoft.com/office/drawing/2014/main" id="{671BC077-24D1-42E6-8940-A06B648AD954}"/>
                  </a:ext>
                </a:extLst>
              </p:cNvPr>
              <p:cNvCxnSpPr>
                <a:endCxn id="191" idx="7"/>
              </p:cNvCxnSpPr>
              <p:nvPr/>
            </p:nvCxnSpPr>
            <p:spPr>
              <a:xfrm>
                <a:off x="9401512" y="4397651"/>
                <a:ext cx="523442" cy="141819"/>
              </a:xfrm>
              <a:prstGeom prst="line">
                <a:avLst/>
              </a:prstGeom>
              <a:noFill/>
              <a:ln w="22225" cap="rnd" cmpd="sng" algn="ctr">
                <a:solidFill>
                  <a:srgbClr val="D83B01"/>
                </a:solidFill>
                <a:prstDash val="sysDot"/>
                <a:headEnd type="none" w="med" len="med"/>
                <a:tailEnd type="none" w="med" len="med"/>
              </a:ln>
              <a:effectLst/>
            </p:spPr>
          </p:cxnSp>
          <p:cxnSp>
            <p:nvCxnSpPr>
              <p:cNvPr id="197" name="Straight Connector 196">
                <a:extLst>
                  <a:ext uri="{FF2B5EF4-FFF2-40B4-BE49-F238E27FC236}">
                    <a16:creationId xmlns:a16="http://schemas.microsoft.com/office/drawing/2014/main" id="{61DF0BD6-7466-438A-A6DF-21B43D293BF0}"/>
                  </a:ext>
                </a:extLst>
              </p:cNvPr>
              <p:cNvCxnSpPr/>
              <p:nvPr/>
            </p:nvCxnSpPr>
            <p:spPr>
              <a:xfrm flipV="1">
                <a:off x="9364295" y="4594273"/>
                <a:ext cx="578153" cy="11963"/>
              </a:xfrm>
              <a:prstGeom prst="line">
                <a:avLst/>
              </a:prstGeom>
              <a:noFill/>
              <a:ln w="22225" cap="rnd" cmpd="sng" algn="ctr">
                <a:solidFill>
                  <a:srgbClr val="D83B01"/>
                </a:solidFill>
                <a:prstDash val="sysDot"/>
                <a:headEnd type="none" w="med" len="med"/>
                <a:tailEnd type="none" w="med" len="med"/>
              </a:ln>
              <a:effectLst/>
            </p:spPr>
          </p:cxnSp>
          <p:cxnSp>
            <p:nvCxnSpPr>
              <p:cNvPr id="198" name="Straight Connector 197">
                <a:extLst>
                  <a:ext uri="{FF2B5EF4-FFF2-40B4-BE49-F238E27FC236}">
                    <a16:creationId xmlns:a16="http://schemas.microsoft.com/office/drawing/2014/main" id="{988E70DD-FDEB-4EF9-8270-F4F35352F0D4}"/>
                  </a:ext>
                </a:extLst>
              </p:cNvPr>
              <p:cNvCxnSpPr/>
              <p:nvPr/>
            </p:nvCxnSpPr>
            <p:spPr>
              <a:xfrm flipV="1">
                <a:off x="9608015" y="4631712"/>
                <a:ext cx="395330" cy="144079"/>
              </a:xfrm>
              <a:prstGeom prst="line">
                <a:avLst/>
              </a:prstGeom>
              <a:noFill/>
              <a:ln w="22225" cap="rnd" cmpd="sng" algn="ctr">
                <a:solidFill>
                  <a:srgbClr val="D83B01"/>
                </a:solidFill>
                <a:prstDash val="sysDot"/>
                <a:headEnd type="none" w="med" len="med"/>
                <a:tailEnd type="none" w="med" len="med"/>
              </a:ln>
              <a:effectLst/>
            </p:spPr>
          </p:cxnSp>
          <p:cxnSp>
            <p:nvCxnSpPr>
              <p:cNvPr id="199" name="Straight Connector 198">
                <a:extLst>
                  <a:ext uri="{FF2B5EF4-FFF2-40B4-BE49-F238E27FC236}">
                    <a16:creationId xmlns:a16="http://schemas.microsoft.com/office/drawing/2014/main" id="{334FE00C-3F73-4038-A72E-41D368F72F41}"/>
                  </a:ext>
                </a:extLst>
              </p:cNvPr>
              <p:cNvCxnSpPr/>
              <p:nvPr/>
            </p:nvCxnSpPr>
            <p:spPr>
              <a:xfrm flipV="1">
                <a:off x="9905382" y="4637639"/>
                <a:ext cx="251699" cy="201359"/>
              </a:xfrm>
              <a:prstGeom prst="line">
                <a:avLst/>
              </a:prstGeom>
              <a:noFill/>
              <a:ln w="22225" cap="rnd" cmpd="sng" algn="ctr">
                <a:solidFill>
                  <a:srgbClr val="D83B01"/>
                </a:solidFill>
                <a:prstDash val="sysDot"/>
                <a:headEnd type="none" w="med" len="med"/>
                <a:tailEnd type="none" w="med" len="med"/>
              </a:ln>
              <a:effectLst/>
            </p:spPr>
          </p:cxnSp>
          <p:cxnSp>
            <p:nvCxnSpPr>
              <p:cNvPr id="200" name="Straight Connector 199">
                <a:extLst>
                  <a:ext uri="{FF2B5EF4-FFF2-40B4-BE49-F238E27FC236}">
                    <a16:creationId xmlns:a16="http://schemas.microsoft.com/office/drawing/2014/main" id="{1E07AED7-9313-4C70-AF2C-1D366A9B51FC}"/>
                  </a:ext>
                </a:extLst>
              </p:cNvPr>
              <p:cNvCxnSpPr/>
              <p:nvPr/>
            </p:nvCxnSpPr>
            <p:spPr>
              <a:xfrm flipH="1" flipV="1">
                <a:off x="10248598" y="4631713"/>
                <a:ext cx="72773" cy="207285"/>
              </a:xfrm>
              <a:prstGeom prst="line">
                <a:avLst/>
              </a:prstGeom>
              <a:noFill/>
              <a:ln w="22225" cap="rnd" cmpd="sng" algn="ctr">
                <a:solidFill>
                  <a:srgbClr val="D83B01"/>
                </a:solidFill>
                <a:prstDash val="sysDot"/>
                <a:headEnd type="none" w="med" len="med"/>
                <a:tailEnd type="none" w="med" len="med"/>
              </a:ln>
              <a:effectLst/>
            </p:spPr>
          </p:cxnSp>
          <p:cxnSp>
            <p:nvCxnSpPr>
              <p:cNvPr id="201" name="Straight Connector 200">
                <a:extLst>
                  <a:ext uri="{FF2B5EF4-FFF2-40B4-BE49-F238E27FC236}">
                    <a16:creationId xmlns:a16="http://schemas.microsoft.com/office/drawing/2014/main" id="{267DA0EC-65AA-487F-A0AA-4B13B05BFC59}"/>
                  </a:ext>
                </a:extLst>
              </p:cNvPr>
              <p:cNvCxnSpPr/>
              <p:nvPr/>
            </p:nvCxnSpPr>
            <p:spPr>
              <a:xfrm flipH="1" flipV="1">
                <a:off x="10522523" y="4609948"/>
                <a:ext cx="217283" cy="201981"/>
              </a:xfrm>
              <a:prstGeom prst="line">
                <a:avLst/>
              </a:prstGeom>
              <a:noFill/>
              <a:ln w="22225" cap="rnd" cmpd="sng" algn="ctr">
                <a:solidFill>
                  <a:srgbClr val="D83B01"/>
                </a:solidFill>
                <a:prstDash val="sysDot"/>
                <a:headEnd type="none" w="med" len="med"/>
                <a:tailEnd type="none" w="med" len="med"/>
              </a:ln>
              <a:effectLst/>
            </p:spPr>
          </p:cxnSp>
          <p:cxnSp>
            <p:nvCxnSpPr>
              <p:cNvPr id="202" name="Straight Connector 201">
                <a:extLst>
                  <a:ext uri="{FF2B5EF4-FFF2-40B4-BE49-F238E27FC236}">
                    <a16:creationId xmlns:a16="http://schemas.microsoft.com/office/drawing/2014/main" id="{F383246D-5208-45BE-9876-8C03F130E730}"/>
                  </a:ext>
                </a:extLst>
              </p:cNvPr>
              <p:cNvCxnSpPr>
                <a:endCxn id="191" idx="11"/>
              </p:cNvCxnSpPr>
              <p:nvPr/>
            </p:nvCxnSpPr>
            <p:spPr>
              <a:xfrm flipH="1" flipV="1">
                <a:off x="10526067" y="4548924"/>
                <a:ext cx="575413" cy="45349"/>
              </a:xfrm>
              <a:prstGeom prst="line">
                <a:avLst/>
              </a:prstGeom>
              <a:noFill/>
              <a:ln w="22225" cap="rnd" cmpd="sng" algn="ctr">
                <a:solidFill>
                  <a:srgbClr val="D83B01"/>
                </a:solidFill>
                <a:prstDash val="sysDot"/>
                <a:headEnd type="none" w="med" len="med"/>
                <a:tailEnd type="none" w="med" len="med"/>
              </a:ln>
              <a:effectLst/>
            </p:spPr>
          </p:cxnSp>
          <p:cxnSp>
            <p:nvCxnSpPr>
              <p:cNvPr id="203" name="Straight Connector 202">
                <a:extLst>
                  <a:ext uri="{FF2B5EF4-FFF2-40B4-BE49-F238E27FC236}">
                    <a16:creationId xmlns:a16="http://schemas.microsoft.com/office/drawing/2014/main" id="{3A6D0318-A2DC-467D-AE33-76A94BFA8FC4}"/>
                  </a:ext>
                </a:extLst>
              </p:cNvPr>
              <p:cNvCxnSpPr>
                <a:endCxn id="191" idx="1"/>
              </p:cNvCxnSpPr>
              <p:nvPr/>
            </p:nvCxnSpPr>
            <p:spPr>
              <a:xfrm flipH="1">
                <a:off x="10488497" y="4342376"/>
                <a:ext cx="550197" cy="121466"/>
              </a:xfrm>
              <a:prstGeom prst="line">
                <a:avLst/>
              </a:prstGeom>
              <a:noFill/>
              <a:ln w="22225" cap="rnd" cmpd="sng" algn="ctr">
                <a:solidFill>
                  <a:srgbClr val="D83B01"/>
                </a:solidFill>
                <a:prstDash val="sysDot"/>
                <a:headEnd type="none" w="med" len="med"/>
                <a:tailEnd type="none" w="med" len="med"/>
              </a:ln>
              <a:effectLst/>
            </p:spPr>
          </p:cxnSp>
          <p:cxnSp>
            <p:nvCxnSpPr>
              <p:cNvPr id="204" name="Straight Connector 203">
                <a:extLst>
                  <a:ext uri="{FF2B5EF4-FFF2-40B4-BE49-F238E27FC236}">
                    <a16:creationId xmlns:a16="http://schemas.microsoft.com/office/drawing/2014/main" id="{72F49DDD-1448-4440-B684-01D289F35352}"/>
                  </a:ext>
                </a:extLst>
              </p:cNvPr>
              <p:cNvCxnSpPr/>
              <p:nvPr/>
            </p:nvCxnSpPr>
            <p:spPr>
              <a:xfrm flipH="1">
                <a:off x="10458004" y="4230272"/>
                <a:ext cx="482954" cy="148111"/>
              </a:xfrm>
              <a:prstGeom prst="line">
                <a:avLst/>
              </a:prstGeom>
              <a:noFill/>
              <a:ln w="22225" cap="rnd" cmpd="sng" algn="ctr">
                <a:solidFill>
                  <a:srgbClr val="D83B01"/>
                </a:solidFill>
                <a:prstDash val="sysDot"/>
                <a:headEnd type="none" w="med" len="med"/>
                <a:tailEnd type="none" w="med" len="med"/>
              </a:ln>
              <a:effectLst/>
            </p:spPr>
          </p:cxnSp>
          <p:cxnSp>
            <p:nvCxnSpPr>
              <p:cNvPr id="205" name="Straight Connector 204">
                <a:extLst>
                  <a:ext uri="{FF2B5EF4-FFF2-40B4-BE49-F238E27FC236}">
                    <a16:creationId xmlns:a16="http://schemas.microsoft.com/office/drawing/2014/main" id="{560E9FF5-6D6A-493E-9715-3D8B21EA025D}"/>
                  </a:ext>
                </a:extLst>
              </p:cNvPr>
              <p:cNvCxnSpPr>
                <a:endCxn id="191" idx="3"/>
              </p:cNvCxnSpPr>
              <p:nvPr/>
            </p:nvCxnSpPr>
            <p:spPr>
              <a:xfrm flipH="1">
                <a:off x="10363266" y="4158145"/>
                <a:ext cx="228287" cy="192255"/>
              </a:xfrm>
              <a:prstGeom prst="line">
                <a:avLst/>
              </a:prstGeom>
              <a:noFill/>
              <a:ln w="22225" cap="rnd" cmpd="sng" algn="ctr">
                <a:solidFill>
                  <a:srgbClr val="D83B01"/>
                </a:solidFill>
                <a:prstDash val="sysDot"/>
                <a:headEnd type="none" w="med" len="med"/>
                <a:tailEnd type="none" w="med" len="med"/>
              </a:ln>
              <a:effectLst/>
            </p:spPr>
          </p:cxnSp>
          <p:cxnSp>
            <p:nvCxnSpPr>
              <p:cNvPr id="206" name="Straight Connector 205">
                <a:extLst>
                  <a:ext uri="{FF2B5EF4-FFF2-40B4-BE49-F238E27FC236}">
                    <a16:creationId xmlns:a16="http://schemas.microsoft.com/office/drawing/2014/main" id="{B7D8025D-FBC6-439E-8EE0-724E3F85AB78}"/>
                  </a:ext>
                </a:extLst>
              </p:cNvPr>
              <p:cNvCxnSpPr>
                <a:endCxn id="191" idx="4"/>
              </p:cNvCxnSpPr>
              <p:nvPr/>
            </p:nvCxnSpPr>
            <p:spPr>
              <a:xfrm flipH="1">
                <a:off x="10244295" y="4149738"/>
                <a:ext cx="2203" cy="125034"/>
              </a:xfrm>
              <a:prstGeom prst="line">
                <a:avLst/>
              </a:prstGeom>
              <a:noFill/>
              <a:ln w="22225" cap="rnd" cmpd="sng" algn="ctr">
                <a:solidFill>
                  <a:srgbClr val="D83B01"/>
                </a:solidFill>
                <a:prstDash val="sysDot"/>
                <a:headEnd type="none" w="med" len="med"/>
                <a:tailEnd type="none" w="med" len="med"/>
              </a:ln>
              <a:effectLst/>
            </p:spPr>
          </p:cxnSp>
        </p:grpSp>
        <p:grpSp>
          <p:nvGrpSpPr>
            <p:cNvPr id="176" name="Group 175">
              <a:extLst>
                <a:ext uri="{FF2B5EF4-FFF2-40B4-BE49-F238E27FC236}">
                  <a16:creationId xmlns:a16="http://schemas.microsoft.com/office/drawing/2014/main" id="{2F9976B2-A801-4CE0-BA33-E15FDEA78910}"/>
                </a:ext>
              </a:extLst>
            </p:cNvPr>
            <p:cNvGrpSpPr/>
            <p:nvPr/>
          </p:nvGrpSpPr>
          <p:grpSpPr>
            <a:xfrm>
              <a:off x="10109919" y="2447740"/>
              <a:ext cx="1211604" cy="797805"/>
              <a:chOff x="9070910" y="2347259"/>
              <a:chExt cx="1743075" cy="1147763"/>
            </a:xfrm>
          </p:grpSpPr>
          <p:sp>
            <p:nvSpPr>
              <p:cNvPr id="182" name="Freeform 5">
                <a:extLst>
                  <a:ext uri="{FF2B5EF4-FFF2-40B4-BE49-F238E27FC236}">
                    <a16:creationId xmlns:a16="http://schemas.microsoft.com/office/drawing/2014/main" id="{010D39EB-F74E-40CE-B1FB-BA27D6DA7852}"/>
                  </a:ext>
                </a:extLst>
              </p:cNvPr>
              <p:cNvSpPr>
                <a:spLocks/>
              </p:cNvSpPr>
              <p:nvPr/>
            </p:nvSpPr>
            <p:spPr bwMode="auto">
              <a:xfrm>
                <a:off x="9070910" y="2347259"/>
                <a:ext cx="1743075" cy="1147763"/>
              </a:xfrm>
              <a:custGeom>
                <a:avLst/>
                <a:gdLst>
                  <a:gd name="T0" fmla="*/ 1074 w 1181"/>
                  <a:gd name="T1" fmla="*/ 729 h 777"/>
                  <a:gd name="T2" fmla="*/ 1074 w 1181"/>
                  <a:gd name="T3" fmla="*/ 729 h 777"/>
                  <a:gd name="T4" fmla="*/ 1074 w 1181"/>
                  <a:gd name="T5" fmla="*/ 729 h 777"/>
                  <a:gd name="T6" fmla="*/ 952 w 1181"/>
                  <a:gd name="T7" fmla="*/ 777 h 777"/>
                  <a:gd name="T8" fmla="*/ 924 w 1181"/>
                  <a:gd name="T9" fmla="*/ 777 h 777"/>
                  <a:gd name="T10" fmla="*/ 898 w 1181"/>
                  <a:gd name="T11" fmla="*/ 777 h 777"/>
                  <a:gd name="T12" fmla="*/ 366 w 1181"/>
                  <a:gd name="T13" fmla="*/ 777 h 777"/>
                  <a:gd name="T14" fmla="*/ 356 w 1181"/>
                  <a:gd name="T15" fmla="*/ 777 h 777"/>
                  <a:gd name="T16" fmla="*/ 342 w 1181"/>
                  <a:gd name="T17" fmla="*/ 777 h 777"/>
                  <a:gd name="T18" fmla="*/ 304 w 1181"/>
                  <a:gd name="T19" fmla="*/ 777 h 777"/>
                  <a:gd name="T20" fmla="*/ 219 w 1181"/>
                  <a:gd name="T21" fmla="*/ 777 h 777"/>
                  <a:gd name="T22" fmla="*/ 0 w 1181"/>
                  <a:gd name="T23" fmla="*/ 558 h 777"/>
                  <a:gd name="T24" fmla="*/ 190 w 1181"/>
                  <a:gd name="T25" fmla="*/ 340 h 777"/>
                  <a:gd name="T26" fmla="*/ 190 w 1181"/>
                  <a:gd name="T27" fmla="*/ 326 h 777"/>
                  <a:gd name="T28" fmla="*/ 377 w 1181"/>
                  <a:gd name="T29" fmla="*/ 31 h 777"/>
                  <a:gd name="T30" fmla="*/ 377 w 1181"/>
                  <a:gd name="T31" fmla="*/ 31 h 777"/>
                  <a:gd name="T32" fmla="*/ 514 w 1181"/>
                  <a:gd name="T33" fmla="*/ 0 h 777"/>
                  <a:gd name="T34" fmla="*/ 785 w 1181"/>
                  <a:gd name="T35" fmla="*/ 145 h 777"/>
                  <a:gd name="T36" fmla="*/ 875 w 1181"/>
                  <a:gd name="T37" fmla="*/ 123 h 777"/>
                  <a:gd name="T38" fmla="*/ 979 w 1181"/>
                  <a:gd name="T39" fmla="*/ 154 h 777"/>
                  <a:gd name="T40" fmla="*/ 1064 w 1181"/>
                  <a:gd name="T41" fmla="*/ 306 h 777"/>
                  <a:gd name="T42" fmla="*/ 1181 w 1181"/>
                  <a:gd name="T43" fmla="*/ 522 h 777"/>
                  <a:gd name="T44" fmla="*/ 1074 w 1181"/>
                  <a:gd name="T45" fmla="*/ 729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1" h="777">
                    <a:moveTo>
                      <a:pt x="1074" y="729"/>
                    </a:moveTo>
                    <a:cubicBezTo>
                      <a:pt x="1074" y="729"/>
                      <a:pt x="1074" y="729"/>
                      <a:pt x="1074" y="729"/>
                    </a:cubicBezTo>
                    <a:cubicBezTo>
                      <a:pt x="1074" y="729"/>
                      <a:pt x="1074" y="729"/>
                      <a:pt x="1074" y="729"/>
                    </a:cubicBezTo>
                    <a:cubicBezTo>
                      <a:pt x="1038" y="753"/>
                      <a:pt x="998" y="772"/>
                      <a:pt x="952" y="777"/>
                    </a:cubicBezTo>
                    <a:cubicBezTo>
                      <a:pt x="943" y="777"/>
                      <a:pt x="933" y="777"/>
                      <a:pt x="924" y="777"/>
                    </a:cubicBezTo>
                    <a:cubicBezTo>
                      <a:pt x="916" y="777"/>
                      <a:pt x="907" y="777"/>
                      <a:pt x="898" y="777"/>
                    </a:cubicBezTo>
                    <a:cubicBezTo>
                      <a:pt x="779" y="777"/>
                      <a:pt x="499" y="777"/>
                      <a:pt x="366" y="777"/>
                    </a:cubicBezTo>
                    <a:cubicBezTo>
                      <a:pt x="363" y="777"/>
                      <a:pt x="359" y="777"/>
                      <a:pt x="356" y="777"/>
                    </a:cubicBezTo>
                    <a:cubicBezTo>
                      <a:pt x="342" y="777"/>
                      <a:pt x="342" y="777"/>
                      <a:pt x="342" y="777"/>
                    </a:cubicBezTo>
                    <a:cubicBezTo>
                      <a:pt x="337" y="777"/>
                      <a:pt x="316" y="777"/>
                      <a:pt x="304" y="777"/>
                    </a:cubicBezTo>
                    <a:cubicBezTo>
                      <a:pt x="219" y="777"/>
                      <a:pt x="219" y="777"/>
                      <a:pt x="219" y="777"/>
                    </a:cubicBezTo>
                    <a:cubicBezTo>
                      <a:pt x="97" y="774"/>
                      <a:pt x="0" y="677"/>
                      <a:pt x="0" y="558"/>
                    </a:cubicBezTo>
                    <a:cubicBezTo>
                      <a:pt x="0" y="447"/>
                      <a:pt x="83" y="356"/>
                      <a:pt x="190" y="340"/>
                    </a:cubicBezTo>
                    <a:cubicBezTo>
                      <a:pt x="190" y="337"/>
                      <a:pt x="190" y="330"/>
                      <a:pt x="190" y="326"/>
                    </a:cubicBezTo>
                    <a:cubicBezTo>
                      <a:pt x="190" y="195"/>
                      <a:pt x="266" y="83"/>
                      <a:pt x="377" y="31"/>
                    </a:cubicBezTo>
                    <a:cubicBezTo>
                      <a:pt x="377" y="31"/>
                      <a:pt x="377" y="31"/>
                      <a:pt x="377" y="31"/>
                    </a:cubicBezTo>
                    <a:cubicBezTo>
                      <a:pt x="420" y="12"/>
                      <a:pt x="464" y="0"/>
                      <a:pt x="514" y="0"/>
                    </a:cubicBezTo>
                    <a:cubicBezTo>
                      <a:pt x="628" y="0"/>
                      <a:pt x="727" y="59"/>
                      <a:pt x="785" y="145"/>
                    </a:cubicBezTo>
                    <a:cubicBezTo>
                      <a:pt x="811" y="132"/>
                      <a:pt x="842" y="123"/>
                      <a:pt x="875" y="123"/>
                    </a:cubicBezTo>
                    <a:cubicBezTo>
                      <a:pt x="913" y="123"/>
                      <a:pt x="950" y="135"/>
                      <a:pt x="979" y="154"/>
                    </a:cubicBezTo>
                    <a:cubicBezTo>
                      <a:pt x="1029" y="187"/>
                      <a:pt x="1062" y="242"/>
                      <a:pt x="1064" y="306"/>
                    </a:cubicBezTo>
                    <a:cubicBezTo>
                      <a:pt x="1133" y="353"/>
                      <a:pt x="1181" y="434"/>
                      <a:pt x="1181" y="522"/>
                    </a:cubicBezTo>
                    <a:cubicBezTo>
                      <a:pt x="1181" y="608"/>
                      <a:pt x="1140" y="683"/>
                      <a:pt x="1074" y="729"/>
                    </a:cubicBezTo>
                    <a:close/>
                  </a:path>
                </a:pathLst>
              </a:custGeom>
              <a:solidFill>
                <a:srgbClr val="FFFFFF">
                  <a:lumMod val="95000"/>
                </a:srgbClr>
              </a:solidFill>
              <a:ln w="28575" cap="flat">
                <a:solidFill>
                  <a:srgbClr val="D83B01"/>
                </a:solidFill>
                <a:prstDash val="solid"/>
                <a:miter lim="800000"/>
                <a:headEnd/>
                <a:tailEnd/>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a:endParaRPr>
              </a:p>
            </p:txBody>
          </p:sp>
          <p:sp>
            <p:nvSpPr>
              <p:cNvPr id="183" name="Freeform 5">
                <a:extLst>
                  <a:ext uri="{FF2B5EF4-FFF2-40B4-BE49-F238E27FC236}">
                    <a16:creationId xmlns:a16="http://schemas.microsoft.com/office/drawing/2014/main" id="{7A80B4E9-BCD5-4D18-9E5F-C39291ABBE68}"/>
                  </a:ext>
                </a:extLst>
              </p:cNvPr>
              <p:cNvSpPr>
                <a:spLocks noChangeAspect="1" noEditPoints="1"/>
              </p:cNvSpPr>
              <p:nvPr/>
            </p:nvSpPr>
            <p:spPr bwMode="black">
              <a:xfrm>
                <a:off x="9504544" y="2873125"/>
                <a:ext cx="1005840" cy="22240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a:endParaRPr>
              </a:p>
            </p:txBody>
          </p:sp>
        </p:grpSp>
        <p:grpSp>
          <p:nvGrpSpPr>
            <p:cNvPr id="177" name="Group 176">
              <a:extLst>
                <a:ext uri="{FF2B5EF4-FFF2-40B4-BE49-F238E27FC236}">
                  <a16:creationId xmlns:a16="http://schemas.microsoft.com/office/drawing/2014/main" id="{C2B54200-43D8-498E-BCB5-A1F3092E5F7B}"/>
                </a:ext>
              </a:extLst>
            </p:cNvPr>
            <p:cNvGrpSpPr/>
            <p:nvPr/>
          </p:nvGrpSpPr>
          <p:grpSpPr>
            <a:xfrm>
              <a:off x="8682297" y="2514664"/>
              <a:ext cx="2036270" cy="1105536"/>
              <a:chOff x="6882926" y="1274675"/>
              <a:chExt cx="2501906" cy="1358341"/>
            </a:xfrm>
          </p:grpSpPr>
          <p:sp>
            <p:nvSpPr>
              <p:cNvPr id="178" name="Freeform 38">
                <a:extLst>
                  <a:ext uri="{FF2B5EF4-FFF2-40B4-BE49-F238E27FC236}">
                    <a16:creationId xmlns:a16="http://schemas.microsoft.com/office/drawing/2014/main" id="{B87C7D81-6F9B-4EF1-8E02-4BA3A014DC2C}"/>
                  </a:ext>
                </a:extLst>
              </p:cNvPr>
              <p:cNvSpPr>
                <a:spLocks/>
              </p:cNvSpPr>
              <p:nvPr/>
            </p:nvSpPr>
            <p:spPr bwMode="auto">
              <a:xfrm>
                <a:off x="7100841" y="1274675"/>
                <a:ext cx="2065743" cy="135834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lumMod val="95000"/>
                </a:srgbClr>
              </a:solidFill>
              <a:ln w="38100">
                <a:solidFill>
                  <a:srgbClr val="D83B01"/>
                </a:solidFill>
              </a:ln>
            </p:spPr>
            <p:txBody>
              <a:bodyPr vert="horz" wrap="square" lIns="93233" tIns="46617" rIns="93233" bIns="46617" numCol="1" anchor="t" anchorCtr="0" compatLnSpc="1">
                <a:prstTxWarp prst="textNoShape">
                  <a:avLst/>
                </a:prstTxWarp>
              </a:bodyPr>
              <a:lstStyle/>
              <a:p>
                <a:pPr marL="0" marR="0" lvl="0" indent="0" defTabSz="93235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ndParaRPr>
              </a:p>
            </p:txBody>
          </p:sp>
          <p:grpSp>
            <p:nvGrpSpPr>
              <p:cNvPr id="179" name="Group 178">
                <a:extLst>
                  <a:ext uri="{FF2B5EF4-FFF2-40B4-BE49-F238E27FC236}">
                    <a16:creationId xmlns:a16="http://schemas.microsoft.com/office/drawing/2014/main" id="{9CBC5949-212B-4FAF-B2B0-12F7BF9CE7DF}"/>
                  </a:ext>
                </a:extLst>
              </p:cNvPr>
              <p:cNvGrpSpPr/>
              <p:nvPr/>
            </p:nvGrpSpPr>
            <p:grpSpPr>
              <a:xfrm>
                <a:off x="6882926" y="1413799"/>
                <a:ext cx="2501906" cy="940480"/>
                <a:chOff x="5181138" y="5547404"/>
                <a:chExt cx="2552074" cy="959338"/>
              </a:xfrm>
            </p:grpSpPr>
            <p:sp>
              <p:nvSpPr>
                <p:cNvPr id="180" name="TextBox 179">
                  <a:extLst>
                    <a:ext uri="{FF2B5EF4-FFF2-40B4-BE49-F238E27FC236}">
                      <a16:creationId xmlns:a16="http://schemas.microsoft.com/office/drawing/2014/main" id="{452D0030-185F-47B7-A9B3-1D63BC0E649C}"/>
                    </a:ext>
                  </a:extLst>
                </p:cNvPr>
                <p:cNvSpPr txBox="1"/>
                <p:nvPr/>
              </p:nvSpPr>
              <p:spPr>
                <a:xfrm>
                  <a:off x="5181138" y="6258870"/>
                  <a:ext cx="2552074" cy="247872"/>
                </a:xfrm>
                <a:prstGeom prst="rect">
                  <a:avLst/>
                </a:prstGeom>
              </p:spPr>
              <p:txBody>
                <a:bodyPr wrap="square" lIns="0" tIns="0" rIns="0" bIns="0" rtlCol="0">
                  <a:spAutoFit/>
                </a:bodyPr>
                <a:lstStyle/>
                <a:p>
                  <a:pPr marL="0" marR="0" lvl="0" indent="0" algn="ctr" defTabSz="913511"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a:ln>
                        <a:noFill/>
                      </a:ln>
                      <a:solidFill>
                        <a:srgbClr val="0078D7"/>
                      </a:solidFill>
                      <a:effectLst/>
                      <a:uLnTx/>
                      <a:uFillTx/>
                      <a:latin typeface="Segoe UI"/>
                      <a:ea typeface="ＭＳ Ｐゴシック" charset="0"/>
                      <a:cs typeface="Segoe UI Semibold" panose="020B0702040204020203" pitchFamily="34" charset="0"/>
                    </a:rPr>
                    <a:t>Microsoft Azure</a:t>
                  </a:r>
                </a:p>
              </p:txBody>
            </p:sp>
            <p:pic>
              <p:nvPicPr>
                <p:cNvPr id="181" name="Picture 180">
                  <a:extLst>
                    <a:ext uri="{FF2B5EF4-FFF2-40B4-BE49-F238E27FC236}">
                      <a16:creationId xmlns:a16="http://schemas.microsoft.com/office/drawing/2014/main" id="{2A5C556E-92BB-435C-BB7E-88C12C69812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6503" y="5547404"/>
                  <a:ext cx="638203" cy="632929"/>
                </a:xfrm>
                <a:prstGeom prst="rect">
                  <a:avLst/>
                </a:prstGeom>
              </p:spPr>
            </p:pic>
          </p:grpSp>
        </p:grpSp>
      </p:grpSp>
      <p:grpSp>
        <p:nvGrpSpPr>
          <p:cNvPr id="250" name="Group 249">
            <a:extLst>
              <a:ext uri="{FF2B5EF4-FFF2-40B4-BE49-F238E27FC236}">
                <a16:creationId xmlns:a16="http://schemas.microsoft.com/office/drawing/2014/main" id="{3F42923D-5ACD-43B7-832B-CD783DB4E7B1}"/>
              </a:ext>
            </a:extLst>
          </p:cNvPr>
          <p:cNvGrpSpPr/>
          <p:nvPr/>
        </p:nvGrpSpPr>
        <p:grpSpPr>
          <a:xfrm>
            <a:off x="5414889" y="1878890"/>
            <a:ext cx="2742811" cy="4571351"/>
            <a:chOff x="5510941" y="2068518"/>
            <a:chExt cx="2743200" cy="4572000"/>
          </a:xfrm>
        </p:grpSpPr>
        <p:sp>
          <p:nvSpPr>
            <p:cNvPr id="251" name="Rectangle 250">
              <a:extLst>
                <a:ext uri="{FF2B5EF4-FFF2-40B4-BE49-F238E27FC236}">
                  <a16:creationId xmlns:a16="http://schemas.microsoft.com/office/drawing/2014/main" id="{4B7FF5D8-BECB-4B99-B9DC-345C1E1D40A1}"/>
                </a:ext>
              </a:extLst>
            </p:cNvPr>
            <p:cNvSpPr/>
            <p:nvPr/>
          </p:nvSpPr>
          <p:spPr bwMode="auto">
            <a:xfrm>
              <a:off x="5510941" y="2068518"/>
              <a:ext cx="2743200" cy="45720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9196" rIns="186495" bIns="149196" numCol="1" spcCol="0" rtlCol="0" fromWordArt="0" anchor="t" anchorCtr="0" forceAA="0" compatLnSpc="1">
              <a:prstTxWarp prst="textNoShape">
                <a:avLst/>
              </a:prstTxWarp>
              <a:noAutofit/>
            </a:bodyPr>
            <a:lstStyle/>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p:txBody>
        </p:sp>
        <p:grpSp>
          <p:nvGrpSpPr>
            <p:cNvPr id="252" name="Group 251">
              <a:extLst>
                <a:ext uri="{FF2B5EF4-FFF2-40B4-BE49-F238E27FC236}">
                  <a16:creationId xmlns:a16="http://schemas.microsoft.com/office/drawing/2014/main" id="{DC0A1792-2DFD-44B8-B997-7E7438E03301}"/>
                </a:ext>
              </a:extLst>
            </p:cNvPr>
            <p:cNvGrpSpPr/>
            <p:nvPr/>
          </p:nvGrpSpPr>
          <p:grpSpPr>
            <a:xfrm>
              <a:off x="5759509" y="5797581"/>
              <a:ext cx="2137034" cy="320040"/>
              <a:chOff x="4232268" y="4794640"/>
              <a:chExt cx="2137034" cy="320040"/>
            </a:xfrm>
          </p:grpSpPr>
          <p:sp>
            <p:nvSpPr>
              <p:cNvPr id="275" name="Freeform 153">
                <a:extLst>
                  <a:ext uri="{FF2B5EF4-FFF2-40B4-BE49-F238E27FC236}">
                    <a16:creationId xmlns:a16="http://schemas.microsoft.com/office/drawing/2014/main" id="{3077885E-8429-4385-961E-D10307506806}"/>
                  </a:ext>
                </a:extLst>
              </p:cNvPr>
              <p:cNvSpPr>
                <a:spLocks noChangeAspect="1" noEditPoints="1"/>
              </p:cNvSpPr>
              <p:nvPr/>
            </p:nvSpPr>
            <p:spPr bwMode="auto">
              <a:xfrm>
                <a:off x="4232268" y="4798733"/>
                <a:ext cx="311854" cy="311854"/>
              </a:xfrm>
              <a:custGeom>
                <a:avLst/>
                <a:gdLst>
                  <a:gd name="T0" fmla="*/ 72 w 100"/>
                  <a:gd name="T1" fmla="*/ 78 h 100"/>
                  <a:gd name="T2" fmla="*/ 100 w 100"/>
                  <a:gd name="T3" fmla="*/ 40 h 100"/>
                  <a:gd name="T4" fmla="*/ 60 w 100"/>
                  <a:gd name="T5" fmla="*/ 0 h 100"/>
                  <a:gd name="T6" fmla="*/ 22 w 100"/>
                  <a:gd name="T7" fmla="*/ 28 h 100"/>
                  <a:gd name="T8" fmla="*/ 0 w 100"/>
                  <a:gd name="T9" fmla="*/ 28 h 100"/>
                  <a:gd name="T10" fmla="*/ 0 w 100"/>
                  <a:gd name="T11" fmla="*/ 100 h 100"/>
                  <a:gd name="T12" fmla="*/ 72 w 100"/>
                  <a:gd name="T13" fmla="*/ 100 h 100"/>
                  <a:gd name="T14" fmla="*/ 72 w 100"/>
                  <a:gd name="T15" fmla="*/ 78 h 100"/>
                  <a:gd name="T16" fmla="*/ 60 w 100"/>
                  <a:gd name="T17" fmla="*/ 8 h 100"/>
                  <a:gd name="T18" fmla="*/ 92 w 100"/>
                  <a:gd name="T19" fmla="*/ 40 h 100"/>
                  <a:gd name="T20" fmla="*/ 60 w 100"/>
                  <a:gd name="T21" fmla="*/ 72 h 100"/>
                  <a:gd name="T22" fmla="*/ 47 w 100"/>
                  <a:gd name="T23" fmla="*/ 69 h 100"/>
                  <a:gd name="T24" fmla="*/ 31 w 100"/>
                  <a:gd name="T25" fmla="*/ 53 h 100"/>
                  <a:gd name="T26" fmla="*/ 30 w 100"/>
                  <a:gd name="T27" fmla="*/ 50 h 100"/>
                  <a:gd name="T28" fmla="*/ 28 w 100"/>
                  <a:gd name="T29" fmla="*/ 40 h 100"/>
                  <a:gd name="T30" fmla="*/ 60 w 100"/>
                  <a:gd name="T31" fmla="*/ 8 h 100"/>
                  <a:gd name="T32" fmla="*/ 20 w 100"/>
                  <a:gd name="T33" fmla="*/ 36 h 100"/>
                  <a:gd name="T34" fmla="*/ 20 w 100"/>
                  <a:gd name="T35" fmla="*/ 40 h 100"/>
                  <a:gd name="T36" fmla="*/ 20 w 100"/>
                  <a:gd name="T37" fmla="*/ 42 h 100"/>
                  <a:gd name="T38" fmla="*/ 14 w 100"/>
                  <a:gd name="T39" fmla="*/ 36 h 100"/>
                  <a:gd name="T40" fmla="*/ 20 w 100"/>
                  <a:gd name="T41" fmla="*/ 36 h 100"/>
                  <a:gd name="T42" fmla="*/ 8 w 100"/>
                  <a:gd name="T43" fmla="*/ 92 h 100"/>
                  <a:gd name="T44" fmla="*/ 8 w 100"/>
                  <a:gd name="T45" fmla="*/ 41 h 100"/>
                  <a:gd name="T46" fmla="*/ 58 w 100"/>
                  <a:gd name="T47" fmla="*/ 92 h 100"/>
                  <a:gd name="T48" fmla="*/ 8 w 100"/>
                  <a:gd name="T49" fmla="*/ 92 h 100"/>
                  <a:gd name="T50" fmla="*/ 64 w 100"/>
                  <a:gd name="T51" fmla="*/ 86 h 100"/>
                  <a:gd name="T52" fmla="*/ 58 w 100"/>
                  <a:gd name="T53" fmla="*/ 79 h 100"/>
                  <a:gd name="T54" fmla="*/ 60 w 100"/>
                  <a:gd name="T55" fmla="*/ 80 h 100"/>
                  <a:gd name="T56" fmla="*/ 64 w 100"/>
                  <a:gd name="T57" fmla="*/ 79 h 100"/>
                  <a:gd name="T58" fmla="*/ 64 w 100"/>
                  <a:gd name="T59" fmla="*/ 86 h 100"/>
                  <a:gd name="T60" fmla="*/ 60 w 100"/>
                  <a:gd name="T61" fmla="*/ 52 h 100"/>
                  <a:gd name="T62" fmla="*/ 72 w 100"/>
                  <a:gd name="T63" fmla="*/ 40 h 100"/>
                  <a:gd name="T64" fmla="*/ 60 w 100"/>
                  <a:gd name="T65" fmla="*/ 28 h 100"/>
                  <a:gd name="T66" fmla="*/ 48 w 100"/>
                  <a:gd name="T67" fmla="*/ 40 h 100"/>
                  <a:gd name="T68" fmla="*/ 60 w 100"/>
                  <a:gd name="T69" fmla="*/ 52 h 100"/>
                  <a:gd name="T70" fmla="*/ 60 w 100"/>
                  <a:gd name="T71" fmla="*/ 36 h 100"/>
                  <a:gd name="T72" fmla="*/ 64 w 100"/>
                  <a:gd name="T73" fmla="*/ 40 h 100"/>
                  <a:gd name="T74" fmla="*/ 60 w 100"/>
                  <a:gd name="T75" fmla="*/ 44 h 100"/>
                  <a:gd name="T76" fmla="*/ 56 w 100"/>
                  <a:gd name="T77" fmla="*/ 40 h 100"/>
                  <a:gd name="T78" fmla="*/ 60 w 100"/>
                  <a:gd name="T7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 h="100">
                    <a:moveTo>
                      <a:pt x="72" y="78"/>
                    </a:moveTo>
                    <a:cubicBezTo>
                      <a:pt x="88" y="73"/>
                      <a:pt x="100" y="57"/>
                      <a:pt x="100" y="40"/>
                    </a:cubicBezTo>
                    <a:cubicBezTo>
                      <a:pt x="100" y="18"/>
                      <a:pt x="82" y="0"/>
                      <a:pt x="60" y="0"/>
                    </a:cubicBezTo>
                    <a:cubicBezTo>
                      <a:pt x="42" y="0"/>
                      <a:pt x="27" y="11"/>
                      <a:pt x="22" y="28"/>
                    </a:cubicBezTo>
                    <a:cubicBezTo>
                      <a:pt x="0" y="28"/>
                      <a:pt x="0" y="28"/>
                      <a:pt x="0" y="28"/>
                    </a:cubicBezTo>
                    <a:cubicBezTo>
                      <a:pt x="0" y="100"/>
                      <a:pt x="0" y="100"/>
                      <a:pt x="0" y="100"/>
                    </a:cubicBezTo>
                    <a:cubicBezTo>
                      <a:pt x="72" y="100"/>
                      <a:pt x="72" y="100"/>
                      <a:pt x="72" y="100"/>
                    </a:cubicBezTo>
                    <a:lnTo>
                      <a:pt x="72" y="78"/>
                    </a:lnTo>
                    <a:close/>
                    <a:moveTo>
                      <a:pt x="60" y="8"/>
                    </a:moveTo>
                    <a:cubicBezTo>
                      <a:pt x="78" y="8"/>
                      <a:pt x="92" y="22"/>
                      <a:pt x="92" y="40"/>
                    </a:cubicBezTo>
                    <a:cubicBezTo>
                      <a:pt x="92" y="57"/>
                      <a:pt x="78" y="72"/>
                      <a:pt x="60" y="72"/>
                    </a:cubicBezTo>
                    <a:cubicBezTo>
                      <a:pt x="55" y="72"/>
                      <a:pt x="51" y="71"/>
                      <a:pt x="47" y="69"/>
                    </a:cubicBezTo>
                    <a:cubicBezTo>
                      <a:pt x="31" y="53"/>
                      <a:pt x="31" y="53"/>
                      <a:pt x="31" y="53"/>
                    </a:cubicBezTo>
                    <a:cubicBezTo>
                      <a:pt x="31" y="52"/>
                      <a:pt x="30" y="51"/>
                      <a:pt x="30" y="50"/>
                    </a:cubicBezTo>
                    <a:cubicBezTo>
                      <a:pt x="29" y="47"/>
                      <a:pt x="28" y="43"/>
                      <a:pt x="28" y="40"/>
                    </a:cubicBezTo>
                    <a:cubicBezTo>
                      <a:pt x="28" y="22"/>
                      <a:pt x="42" y="8"/>
                      <a:pt x="60" y="8"/>
                    </a:cubicBezTo>
                    <a:close/>
                    <a:moveTo>
                      <a:pt x="20" y="36"/>
                    </a:moveTo>
                    <a:cubicBezTo>
                      <a:pt x="20" y="37"/>
                      <a:pt x="20" y="38"/>
                      <a:pt x="20" y="40"/>
                    </a:cubicBezTo>
                    <a:cubicBezTo>
                      <a:pt x="20" y="40"/>
                      <a:pt x="20" y="41"/>
                      <a:pt x="20" y="42"/>
                    </a:cubicBezTo>
                    <a:cubicBezTo>
                      <a:pt x="14" y="36"/>
                      <a:pt x="14" y="36"/>
                      <a:pt x="14" y="36"/>
                    </a:cubicBezTo>
                    <a:lnTo>
                      <a:pt x="20" y="36"/>
                    </a:lnTo>
                    <a:close/>
                    <a:moveTo>
                      <a:pt x="8" y="92"/>
                    </a:moveTo>
                    <a:cubicBezTo>
                      <a:pt x="8" y="41"/>
                      <a:pt x="8" y="41"/>
                      <a:pt x="8" y="41"/>
                    </a:cubicBezTo>
                    <a:cubicBezTo>
                      <a:pt x="58" y="92"/>
                      <a:pt x="58" y="92"/>
                      <a:pt x="58" y="92"/>
                    </a:cubicBezTo>
                    <a:lnTo>
                      <a:pt x="8" y="92"/>
                    </a:lnTo>
                    <a:close/>
                    <a:moveTo>
                      <a:pt x="64" y="86"/>
                    </a:moveTo>
                    <a:cubicBezTo>
                      <a:pt x="58" y="79"/>
                      <a:pt x="58" y="79"/>
                      <a:pt x="58" y="79"/>
                    </a:cubicBezTo>
                    <a:cubicBezTo>
                      <a:pt x="58" y="79"/>
                      <a:pt x="59" y="80"/>
                      <a:pt x="60" y="80"/>
                    </a:cubicBezTo>
                    <a:cubicBezTo>
                      <a:pt x="61" y="80"/>
                      <a:pt x="63" y="80"/>
                      <a:pt x="64" y="79"/>
                    </a:cubicBezTo>
                    <a:lnTo>
                      <a:pt x="64" y="86"/>
                    </a:lnTo>
                    <a:close/>
                    <a:moveTo>
                      <a:pt x="60" y="52"/>
                    </a:moveTo>
                    <a:cubicBezTo>
                      <a:pt x="67" y="52"/>
                      <a:pt x="72" y="46"/>
                      <a:pt x="72" y="40"/>
                    </a:cubicBezTo>
                    <a:cubicBezTo>
                      <a:pt x="72" y="33"/>
                      <a:pt x="67" y="28"/>
                      <a:pt x="60" y="28"/>
                    </a:cubicBezTo>
                    <a:cubicBezTo>
                      <a:pt x="53" y="28"/>
                      <a:pt x="48" y="33"/>
                      <a:pt x="48" y="40"/>
                    </a:cubicBezTo>
                    <a:cubicBezTo>
                      <a:pt x="48" y="46"/>
                      <a:pt x="53" y="52"/>
                      <a:pt x="60" y="52"/>
                    </a:cubicBezTo>
                    <a:close/>
                    <a:moveTo>
                      <a:pt x="60" y="36"/>
                    </a:moveTo>
                    <a:cubicBezTo>
                      <a:pt x="62" y="36"/>
                      <a:pt x="64" y="37"/>
                      <a:pt x="64" y="40"/>
                    </a:cubicBezTo>
                    <a:cubicBezTo>
                      <a:pt x="64" y="42"/>
                      <a:pt x="62" y="44"/>
                      <a:pt x="60" y="44"/>
                    </a:cubicBezTo>
                    <a:cubicBezTo>
                      <a:pt x="58" y="44"/>
                      <a:pt x="56" y="42"/>
                      <a:pt x="56" y="40"/>
                    </a:cubicBezTo>
                    <a:cubicBezTo>
                      <a:pt x="56" y="37"/>
                      <a:pt x="58" y="36"/>
                      <a:pt x="60" y="36"/>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76" name="Rectangle 275">
                <a:extLst>
                  <a:ext uri="{FF2B5EF4-FFF2-40B4-BE49-F238E27FC236}">
                    <a16:creationId xmlns:a16="http://schemas.microsoft.com/office/drawing/2014/main" id="{7700A6BC-F981-4119-AE99-8B394330A0EB}"/>
                  </a:ext>
                </a:extLst>
              </p:cNvPr>
              <p:cNvSpPr/>
              <p:nvPr/>
            </p:nvSpPr>
            <p:spPr>
              <a:xfrm>
                <a:off x="4540502" y="4794640"/>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Prevent data leak</a:t>
                </a:r>
                <a:endParaRPr kumimoji="0" lang="en-US" sz="1599" b="0" i="0" u="none" strike="noStrike" kern="0" cap="none" spc="0" normalizeH="0" baseline="0" noProof="0">
                  <a:ln>
                    <a:noFill/>
                  </a:ln>
                  <a:solidFill>
                    <a:srgbClr val="353535"/>
                  </a:solidFill>
                  <a:effectLst/>
                  <a:uLnTx/>
                  <a:uFillTx/>
                  <a:latin typeface="Segoe UI Semilight"/>
                </a:endParaRPr>
              </a:p>
            </p:txBody>
          </p:sp>
        </p:grpSp>
        <p:grpSp>
          <p:nvGrpSpPr>
            <p:cNvPr id="253" name="Group 252">
              <a:extLst>
                <a:ext uri="{FF2B5EF4-FFF2-40B4-BE49-F238E27FC236}">
                  <a16:creationId xmlns:a16="http://schemas.microsoft.com/office/drawing/2014/main" id="{5CEA4DD9-4D16-4D60-B394-85EF773ECA50}"/>
                </a:ext>
              </a:extLst>
            </p:cNvPr>
            <p:cNvGrpSpPr/>
            <p:nvPr/>
          </p:nvGrpSpPr>
          <p:grpSpPr>
            <a:xfrm>
              <a:off x="5768520" y="5297473"/>
              <a:ext cx="2128023" cy="320040"/>
              <a:chOff x="4241279" y="4394839"/>
              <a:chExt cx="2128023" cy="320040"/>
            </a:xfrm>
          </p:grpSpPr>
          <p:grpSp>
            <p:nvGrpSpPr>
              <p:cNvPr id="270" name="Group 4">
                <a:extLst>
                  <a:ext uri="{FF2B5EF4-FFF2-40B4-BE49-F238E27FC236}">
                    <a16:creationId xmlns:a16="http://schemas.microsoft.com/office/drawing/2014/main" id="{DCF82784-82D5-4A6D-B447-166A28BEC7FF}"/>
                  </a:ext>
                </a:extLst>
              </p:cNvPr>
              <p:cNvGrpSpPr>
                <a:grpSpLocks noChangeAspect="1"/>
              </p:cNvGrpSpPr>
              <p:nvPr/>
            </p:nvGrpSpPr>
            <p:grpSpPr bwMode="auto">
              <a:xfrm>
                <a:off x="4241279" y="4409360"/>
                <a:ext cx="310024" cy="290998"/>
                <a:chOff x="4551" y="2728"/>
                <a:chExt cx="277" cy="260"/>
              </a:xfrm>
              <a:solidFill>
                <a:srgbClr val="D83B01"/>
              </a:solidFill>
            </p:grpSpPr>
            <p:sp>
              <p:nvSpPr>
                <p:cNvPr id="272" name="Rectangle 5">
                  <a:extLst>
                    <a:ext uri="{FF2B5EF4-FFF2-40B4-BE49-F238E27FC236}">
                      <a16:creationId xmlns:a16="http://schemas.microsoft.com/office/drawing/2014/main" id="{889E3CC2-4CE5-45A6-ACBA-2F187208AE1B}"/>
                    </a:ext>
                  </a:extLst>
                </p:cNvPr>
                <p:cNvSpPr>
                  <a:spLocks noChangeArrowheads="1"/>
                </p:cNvSpPr>
                <p:nvPr/>
              </p:nvSpPr>
              <p:spPr bwMode="auto">
                <a:xfrm>
                  <a:off x="4620" y="2936"/>
                  <a:ext cx="34"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73" name="Freeform 6">
                  <a:extLst>
                    <a:ext uri="{FF2B5EF4-FFF2-40B4-BE49-F238E27FC236}">
                      <a16:creationId xmlns:a16="http://schemas.microsoft.com/office/drawing/2014/main" id="{3209B323-BD58-4BC8-B9E3-9AE5ADC5EC56}"/>
                    </a:ext>
                  </a:extLst>
                </p:cNvPr>
                <p:cNvSpPr>
                  <a:spLocks noEditPoints="1"/>
                </p:cNvSpPr>
                <p:nvPr/>
              </p:nvSpPr>
              <p:spPr bwMode="auto">
                <a:xfrm>
                  <a:off x="4551" y="2728"/>
                  <a:ext cx="277" cy="260"/>
                </a:xfrm>
                <a:custGeom>
                  <a:avLst/>
                  <a:gdLst>
                    <a:gd name="T0" fmla="*/ 192 w 192"/>
                    <a:gd name="T1" fmla="*/ 48 h 180"/>
                    <a:gd name="T2" fmla="*/ 180 w 192"/>
                    <a:gd name="T3" fmla="*/ 36 h 180"/>
                    <a:gd name="T4" fmla="*/ 156 w 192"/>
                    <a:gd name="T5" fmla="*/ 36 h 180"/>
                    <a:gd name="T6" fmla="*/ 156 w 192"/>
                    <a:gd name="T7" fmla="*/ 0 h 180"/>
                    <a:gd name="T8" fmla="*/ 84 w 192"/>
                    <a:gd name="T9" fmla="*/ 0 h 180"/>
                    <a:gd name="T10" fmla="*/ 84 w 192"/>
                    <a:gd name="T11" fmla="*/ 36 h 180"/>
                    <a:gd name="T12" fmla="*/ 60 w 192"/>
                    <a:gd name="T13" fmla="*/ 36 h 180"/>
                    <a:gd name="T14" fmla="*/ 48 w 192"/>
                    <a:gd name="T15" fmla="*/ 48 h 180"/>
                    <a:gd name="T16" fmla="*/ 48 w 192"/>
                    <a:gd name="T17" fmla="*/ 84 h 180"/>
                    <a:gd name="T18" fmla="*/ 12 w 192"/>
                    <a:gd name="T19" fmla="*/ 84 h 180"/>
                    <a:gd name="T20" fmla="*/ 0 w 192"/>
                    <a:gd name="T21" fmla="*/ 96 h 180"/>
                    <a:gd name="T22" fmla="*/ 0 w 192"/>
                    <a:gd name="T23" fmla="*/ 168 h 180"/>
                    <a:gd name="T24" fmla="*/ 12 w 192"/>
                    <a:gd name="T25" fmla="*/ 180 h 180"/>
                    <a:gd name="T26" fmla="*/ 108 w 192"/>
                    <a:gd name="T27" fmla="*/ 180 h 180"/>
                    <a:gd name="T28" fmla="*/ 120 w 192"/>
                    <a:gd name="T29" fmla="*/ 168 h 180"/>
                    <a:gd name="T30" fmla="*/ 120 w 192"/>
                    <a:gd name="T31" fmla="*/ 132 h 180"/>
                    <a:gd name="T32" fmla="*/ 156 w 192"/>
                    <a:gd name="T33" fmla="*/ 132 h 180"/>
                    <a:gd name="T34" fmla="*/ 156 w 192"/>
                    <a:gd name="T35" fmla="*/ 108 h 180"/>
                    <a:gd name="T36" fmla="*/ 192 w 192"/>
                    <a:gd name="T37" fmla="*/ 108 h 180"/>
                    <a:gd name="T38" fmla="*/ 192 w 192"/>
                    <a:gd name="T39" fmla="*/ 48 h 180"/>
                    <a:gd name="T40" fmla="*/ 96 w 192"/>
                    <a:gd name="T41" fmla="*/ 12 h 180"/>
                    <a:gd name="T42" fmla="*/ 144 w 192"/>
                    <a:gd name="T43" fmla="*/ 12 h 180"/>
                    <a:gd name="T44" fmla="*/ 144 w 192"/>
                    <a:gd name="T45" fmla="*/ 36 h 180"/>
                    <a:gd name="T46" fmla="*/ 96 w 192"/>
                    <a:gd name="T47" fmla="*/ 36 h 180"/>
                    <a:gd name="T48" fmla="*/ 96 w 192"/>
                    <a:gd name="T49" fmla="*/ 12 h 180"/>
                    <a:gd name="T50" fmla="*/ 108 w 192"/>
                    <a:gd name="T51" fmla="*/ 168 h 180"/>
                    <a:gd name="T52" fmla="*/ 12 w 192"/>
                    <a:gd name="T53" fmla="*/ 168 h 180"/>
                    <a:gd name="T54" fmla="*/ 12 w 192"/>
                    <a:gd name="T55" fmla="*/ 96 h 180"/>
                    <a:gd name="T56" fmla="*/ 108 w 192"/>
                    <a:gd name="T57" fmla="*/ 96 h 180"/>
                    <a:gd name="T58" fmla="*/ 108 w 192"/>
                    <a:gd name="T59" fmla="*/ 132 h 180"/>
                    <a:gd name="T60" fmla="*/ 108 w 192"/>
                    <a:gd name="T61" fmla="*/ 132 h 180"/>
                    <a:gd name="T62" fmla="*/ 108 w 192"/>
                    <a:gd name="T63" fmla="*/ 168 h 180"/>
                    <a:gd name="T64" fmla="*/ 144 w 192"/>
                    <a:gd name="T65" fmla="*/ 120 h 180"/>
                    <a:gd name="T66" fmla="*/ 120 w 192"/>
                    <a:gd name="T67" fmla="*/ 120 h 180"/>
                    <a:gd name="T68" fmla="*/ 120 w 192"/>
                    <a:gd name="T69" fmla="*/ 96 h 180"/>
                    <a:gd name="T70" fmla="*/ 144 w 192"/>
                    <a:gd name="T71" fmla="*/ 96 h 180"/>
                    <a:gd name="T72" fmla="*/ 144 w 192"/>
                    <a:gd name="T73" fmla="*/ 120 h 180"/>
                    <a:gd name="T74" fmla="*/ 180 w 192"/>
                    <a:gd name="T75" fmla="*/ 96 h 180"/>
                    <a:gd name="T76" fmla="*/ 156 w 192"/>
                    <a:gd name="T77" fmla="*/ 96 h 180"/>
                    <a:gd name="T78" fmla="*/ 156 w 192"/>
                    <a:gd name="T79" fmla="*/ 84 h 180"/>
                    <a:gd name="T80" fmla="*/ 108 w 192"/>
                    <a:gd name="T81" fmla="*/ 84 h 180"/>
                    <a:gd name="T82" fmla="*/ 60 w 192"/>
                    <a:gd name="T83" fmla="*/ 84 h 180"/>
                    <a:gd name="T84" fmla="*/ 60 w 192"/>
                    <a:gd name="T85" fmla="*/ 48 h 180"/>
                    <a:gd name="T86" fmla="*/ 180 w 192"/>
                    <a:gd name="T87" fmla="*/ 48 h 180"/>
                    <a:gd name="T88" fmla="*/ 180 w 192"/>
                    <a:gd name="T89" fmla="*/ 9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180">
                      <a:moveTo>
                        <a:pt x="192" y="48"/>
                      </a:moveTo>
                      <a:cubicBezTo>
                        <a:pt x="192" y="41"/>
                        <a:pt x="187" y="36"/>
                        <a:pt x="180" y="36"/>
                      </a:cubicBezTo>
                      <a:cubicBezTo>
                        <a:pt x="156" y="36"/>
                        <a:pt x="156" y="36"/>
                        <a:pt x="156" y="36"/>
                      </a:cubicBezTo>
                      <a:cubicBezTo>
                        <a:pt x="156" y="0"/>
                        <a:pt x="156" y="0"/>
                        <a:pt x="156" y="0"/>
                      </a:cubicBezTo>
                      <a:cubicBezTo>
                        <a:pt x="84" y="0"/>
                        <a:pt x="84" y="0"/>
                        <a:pt x="84" y="0"/>
                      </a:cubicBezTo>
                      <a:cubicBezTo>
                        <a:pt x="84" y="36"/>
                        <a:pt x="84" y="36"/>
                        <a:pt x="84" y="36"/>
                      </a:cubicBezTo>
                      <a:cubicBezTo>
                        <a:pt x="60" y="36"/>
                        <a:pt x="60" y="36"/>
                        <a:pt x="60" y="36"/>
                      </a:cubicBezTo>
                      <a:cubicBezTo>
                        <a:pt x="53" y="36"/>
                        <a:pt x="48" y="41"/>
                        <a:pt x="48" y="48"/>
                      </a:cubicBezTo>
                      <a:cubicBezTo>
                        <a:pt x="48" y="84"/>
                        <a:pt x="48" y="84"/>
                        <a:pt x="48" y="84"/>
                      </a:cubicBezTo>
                      <a:cubicBezTo>
                        <a:pt x="12" y="84"/>
                        <a:pt x="12" y="84"/>
                        <a:pt x="12" y="84"/>
                      </a:cubicBezTo>
                      <a:cubicBezTo>
                        <a:pt x="5" y="84"/>
                        <a:pt x="0" y="89"/>
                        <a:pt x="0" y="96"/>
                      </a:cubicBezTo>
                      <a:cubicBezTo>
                        <a:pt x="0" y="168"/>
                        <a:pt x="0" y="168"/>
                        <a:pt x="0" y="168"/>
                      </a:cubicBezTo>
                      <a:cubicBezTo>
                        <a:pt x="0" y="175"/>
                        <a:pt x="5" y="180"/>
                        <a:pt x="12" y="180"/>
                      </a:cubicBezTo>
                      <a:cubicBezTo>
                        <a:pt x="108" y="180"/>
                        <a:pt x="108" y="180"/>
                        <a:pt x="108" y="180"/>
                      </a:cubicBezTo>
                      <a:cubicBezTo>
                        <a:pt x="115" y="180"/>
                        <a:pt x="120" y="175"/>
                        <a:pt x="120" y="168"/>
                      </a:cubicBezTo>
                      <a:cubicBezTo>
                        <a:pt x="120" y="132"/>
                        <a:pt x="120" y="132"/>
                        <a:pt x="120" y="132"/>
                      </a:cubicBezTo>
                      <a:cubicBezTo>
                        <a:pt x="156" y="132"/>
                        <a:pt x="156" y="132"/>
                        <a:pt x="156" y="132"/>
                      </a:cubicBezTo>
                      <a:cubicBezTo>
                        <a:pt x="156" y="108"/>
                        <a:pt x="156" y="108"/>
                        <a:pt x="156" y="108"/>
                      </a:cubicBezTo>
                      <a:cubicBezTo>
                        <a:pt x="192" y="108"/>
                        <a:pt x="192" y="108"/>
                        <a:pt x="192" y="108"/>
                      </a:cubicBezTo>
                      <a:lnTo>
                        <a:pt x="192" y="48"/>
                      </a:lnTo>
                      <a:close/>
                      <a:moveTo>
                        <a:pt x="96" y="12"/>
                      </a:moveTo>
                      <a:cubicBezTo>
                        <a:pt x="144" y="12"/>
                        <a:pt x="144" y="12"/>
                        <a:pt x="144" y="12"/>
                      </a:cubicBezTo>
                      <a:cubicBezTo>
                        <a:pt x="144" y="36"/>
                        <a:pt x="144" y="36"/>
                        <a:pt x="144" y="36"/>
                      </a:cubicBezTo>
                      <a:cubicBezTo>
                        <a:pt x="96" y="36"/>
                        <a:pt x="96" y="36"/>
                        <a:pt x="96" y="36"/>
                      </a:cubicBezTo>
                      <a:lnTo>
                        <a:pt x="96" y="12"/>
                      </a:lnTo>
                      <a:close/>
                      <a:moveTo>
                        <a:pt x="108" y="168"/>
                      </a:moveTo>
                      <a:cubicBezTo>
                        <a:pt x="12" y="168"/>
                        <a:pt x="12" y="168"/>
                        <a:pt x="12" y="168"/>
                      </a:cubicBezTo>
                      <a:cubicBezTo>
                        <a:pt x="12" y="96"/>
                        <a:pt x="12" y="96"/>
                        <a:pt x="12" y="96"/>
                      </a:cubicBezTo>
                      <a:cubicBezTo>
                        <a:pt x="108" y="96"/>
                        <a:pt x="108" y="96"/>
                        <a:pt x="108" y="96"/>
                      </a:cubicBezTo>
                      <a:cubicBezTo>
                        <a:pt x="108" y="132"/>
                        <a:pt x="108" y="132"/>
                        <a:pt x="108" y="132"/>
                      </a:cubicBezTo>
                      <a:cubicBezTo>
                        <a:pt x="108" y="132"/>
                        <a:pt x="108" y="132"/>
                        <a:pt x="108" y="132"/>
                      </a:cubicBezTo>
                      <a:lnTo>
                        <a:pt x="108" y="168"/>
                      </a:lnTo>
                      <a:close/>
                      <a:moveTo>
                        <a:pt x="144" y="120"/>
                      </a:moveTo>
                      <a:cubicBezTo>
                        <a:pt x="120" y="120"/>
                        <a:pt x="120" y="120"/>
                        <a:pt x="120" y="120"/>
                      </a:cubicBezTo>
                      <a:cubicBezTo>
                        <a:pt x="120" y="96"/>
                        <a:pt x="120" y="96"/>
                        <a:pt x="120" y="96"/>
                      </a:cubicBezTo>
                      <a:cubicBezTo>
                        <a:pt x="144" y="96"/>
                        <a:pt x="144" y="96"/>
                        <a:pt x="144" y="96"/>
                      </a:cubicBezTo>
                      <a:lnTo>
                        <a:pt x="144" y="120"/>
                      </a:lnTo>
                      <a:close/>
                      <a:moveTo>
                        <a:pt x="180" y="96"/>
                      </a:moveTo>
                      <a:cubicBezTo>
                        <a:pt x="156" y="96"/>
                        <a:pt x="156" y="96"/>
                        <a:pt x="156" y="96"/>
                      </a:cubicBezTo>
                      <a:cubicBezTo>
                        <a:pt x="156" y="84"/>
                        <a:pt x="156" y="84"/>
                        <a:pt x="156" y="84"/>
                      </a:cubicBezTo>
                      <a:cubicBezTo>
                        <a:pt x="108" y="84"/>
                        <a:pt x="108" y="84"/>
                        <a:pt x="108" y="84"/>
                      </a:cubicBezTo>
                      <a:cubicBezTo>
                        <a:pt x="60" y="84"/>
                        <a:pt x="60" y="84"/>
                        <a:pt x="60" y="84"/>
                      </a:cubicBezTo>
                      <a:cubicBezTo>
                        <a:pt x="60" y="48"/>
                        <a:pt x="60" y="48"/>
                        <a:pt x="60" y="48"/>
                      </a:cubicBezTo>
                      <a:cubicBezTo>
                        <a:pt x="180" y="48"/>
                        <a:pt x="180" y="48"/>
                        <a:pt x="180" y="48"/>
                      </a:cubicBezTo>
                      <a:lnTo>
                        <a:pt x="18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74" name="Oval 7">
                  <a:extLst>
                    <a:ext uri="{FF2B5EF4-FFF2-40B4-BE49-F238E27FC236}">
                      <a16:creationId xmlns:a16="http://schemas.microsoft.com/office/drawing/2014/main" id="{BA327A42-E1B1-4301-8E4A-5CA84B981B64}"/>
                    </a:ext>
                  </a:extLst>
                </p:cNvPr>
                <p:cNvSpPr>
                  <a:spLocks noChangeArrowheads="1"/>
                </p:cNvSpPr>
                <p:nvPr/>
              </p:nvSpPr>
              <p:spPr bwMode="auto">
                <a:xfrm>
                  <a:off x="4654" y="2815"/>
                  <a:ext cx="18"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sp>
            <p:nvSpPr>
              <p:cNvPr id="271" name="Rectangle 270">
                <a:extLst>
                  <a:ext uri="{FF2B5EF4-FFF2-40B4-BE49-F238E27FC236}">
                    <a16:creationId xmlns:a16="http://schemas.microsoft.com/office/drawing/2014/main" id="{37A31CC1-7122-4764-8326-8EBEA6301805}"/>
                  </a:ext>
                </a:extLst>
              </p:cNvPr>
              <p:cNvSpPr/>
              <p:nvPr/>
            </p:nvSpPr>
            <p:spPr>
              <a:xfrm>
                <a:off x="4540502" y="4394839"/>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Disable print</a:t>
                </a:r>
                <a:endParaRPr kumimoji="0" lang="en-US" sz="1599" b="0" i="0" u="none" strike="noStrike" kern="0" cap="none" spc="0" normalizeH="0" baseline="0" noProof="0">
                  <a:ln>
                    <a:noFill/>
                  </a:ln>
                  <a:solidFill>
                    <a:srgbClr val="353535"/>
                  </a:solidFill>
                  <a:effectLst/>
                  <a:uLnTx/>
                  <a:uFillTx/>
                  <a:latin typeface="Segoe UI Semilight"/>
                </a:endParaRPr>
              </a:p>
            </p:txBody>
          </p:sp>
        </p:grpSp>
        <p:grpSp>
          <p:nvGrpSpPr>
            <p:cNvPr id="254" name="Group 253">
              <a:extLst>
                <a:ext uri="{FF2B5EF4-FFF2-40B4-BE49-F238E27FC236}">
                  <a16:creationId xmlns:a16="http://schemas.microsoft.com/office/drawing/2014/main" id="{3FB2F63C-72E9-4829-8C29-B41F1CA6B6EC}"/>
                </a:ext>
              </a:extLst>
            </p:cNvPr>
            <p:cNvGrpSpPr/>
            <p:nvPr/>
          </p:nvGrpSpPr>
          <p:grpSpPr>
            <a:xfrm>
              <a:off x="5763283" y="4797365"/>
              <a:ext cx="2133260" cy="320040"/>
              <a:chOff x="4236042" y="3966555"/>
              <a:chExt cx="2133260" cy="320040"/>
            </a:xfrm>
          </p:grpSpPr>
          <p:sp>
            <p:nvSpPr>
              <p:cNvPr id="268" name="Freeform 281">
                <a:extLst>
                  <a:ext uri="{FF2B5EF4-FFF2-40B4-BE49-F238E27FC236}">
                    <a16:creationId xmlns:a16="http://schemas.microsoft.com/office/drawing/2014/main" id="{32A5391A-89F7-4623-AF4B-150F4A1954B9}"/>
                  </a:ext>
                </a:extLst>
              </p:cNvPr>
              <p:cNvSpPr>
                <a:spLocks noChangeAspect="1" noEditPoints="1"/>
              </p:cNvSpPr>
              <p:nvPr/>
            </p:nvSpPr>
            <p:spPr bwMode="auto">
              <a:xfrm>
                <a:off x="4236042" y="3982676"/>
                <a:ext cx="310026" cy="287798"/>
              </a:xfrm>
              <a:custGeom>
                <a:avLst/>
                <a:gdLst>
                  <a:gd name="T0" fmla="*/ 0 w 112"/>
                  <a:gd name="T1" fmla="*/ 8 h 104"/>
                  <a:gd name="T2" fmla="*/ 24 w 112"/>
                  <a:gd name="T3" fmla="*/ 8 h 104"/>
                  <a:gd name="T4" fmla="*/ 24 w 112"/>
                  <a:gd name="T5" fmla="*/ 16 h 104"/>
                  <a:gd name="T6" fmla="*/ 8 w 112"/>
                  <a:gd name="T7" fmla="*/ 16 h 104"/>
                  <a:gd name="T8" fmla="*/ 8 w 112"/>
                  <a:gd name="T9" fmla="*/ 32 h 104"/>
                  <a:gd name="T10" fmla="*/ 24 w 112"/>
                  <a:gd name="T11" fmla="*/ 32 h 104"/>
                  <a:gd name="T12" fmla="*/ 24 w 112"/>
                  <a:gd name="T13" fmla="*/ 40 h 104"/>
                  <a:gd name="T14" fmla="*/ 8 w 112"/>
                  <a:gd name="T15" fmla="*/ 40 h 104"/>
                  <a:gd name="T16" fmla="*/ 8 w 112"/>
                  <a:gd name="T17" fmla="*/ 96 h 104"/>
                  <a:gd name="T18" fmla="*/ 104 w 112"/>
                  <a:gd name="T19" fmla="*/ 96 h 104"/>
                  <a:gd name="T20" fmla="*/ 104 w 112"/>
                  <a:gd name="T21" fmla="*/ 40 h 104"/>
                  <a:gd name="T22" fmla="*/ 48 w 112"/>
                  <a:gd name="T23" fmla="*/ 40 h 104"/>
                  <a:gd name="T24" fmla="*/ 48 w 112"/>
                  <a:gd name="T25" fmla="*/ 32 h 104"/>
                  <a:gd name="T26" fmla="*/ 104 w 112"/>
                  <a:gd name="T27" fmla="*/ 32 h 104"/>
                  <a:gd name="T28" fmla="*/ 104 w 112"/>
                  <a:gd name="T29" fmla="*/ 16 h 104"/>
                  <a:gd name="T30" fmla="*/ 48 w 112"/>
                  <a:gd name="T31" fmla="*/ 16 h 104"/>
                  <a:gd name="T32" fmla="*/ 48 w 112"/>
                  <a:gd name="T33" fmla="*/ 8 h 104"/>
                  <a:gd name="T34" fmla="*/ 112 w 112"/>
                  <a:gd name="T35" fmla="*/ 8 h 104"/>
                  <a:gd name="T36" fmla="*/ 112 w 112"/>
                  <a:gd name="T37" fmla="*/ 104 h 104"/>
                  <a:gd name="T38" fmla="*/ 0 w 112"/>
                  <a:gd name="T39" fmla="*/ 104 h 104"/>
                  <a:gd name="T40" fmla="*/ 0 w 112"/>
                  <a:gd name="T41" fmla="*/ 8 h 104"/>
                  <a:gd name="T42" fmla="*/ 32 w 112"/>
                  <a:gd name="T43" fmla="*/ 0 h 104"/>
                  <a:gd name="T44" fmla="*/ 32 w 112"/>
                  <a:gd name="T45" fmla="*/ 71 h 104"/>
                  <a:gd name="T46" fmla="*/ 22 w 112"/>
                  <a:gd name="T47" fmla="*/ 61 h 104"/>
                  <a:gd name="T48" fmla="*/ 17 w 112"/>
                  <a:gd name="T49" fmla="*/ 67 h 104"/>
                  <a:gd name="T50" fmla="*/ 36 w 112"/>
                  <a:gd name="T51" fmla="*/ 86 h 104"/>
                  <a:gd name="T52" fmla="*/ 54 w 112"/>
                  <a:gd name="T53" fmla="*/ 67 h 104"/>
                  <a:gd name="T54" fmla="*/ 49 w 112"/>
                  <a:gd name="T55" fmla="*/ 61 h 104"/>
                  <a:gd name="T56" fmla="*/ 40 w 112"/>
                  <a:gd name="T57" fmla="*/ 71 h 104"/>
                  <a:gd name="T58" fmla="*/ 40 w 112"/>
                  <a:gd name="T59" fmla="*/ 0 h 104"/>
                  <a:gd name="T60" fmla="*/ 32 w 112"/>
                  <a:gd name="T61" fmla="*/ 0 h 104"/>
                  <a:gd name="T62" fmla="*/ 72 w 112"/>
                  <a:gd name="T63" fmla="*/ 24 h 104"/>
                  <a:gd name="T64" fmla="*/ 68 w 112"/>
                  <a:gd name="T65" fmla="*/ 20 h 104"/>
                  <a:gd name="T66" fmla="*/ 64 w 112"/>
                  <a:gd name="T67" fmla="*/ 24 h 104"/>
                  <a:gd name="T68" fmla="*/ 68 w 112"/>
                  <a:gd name="T69" fmla="*/ 28 h 104"/>
                  <a:gd name="T70" fmla="*/ 72 w 112"/>
                  <a:gd name="T71" fmla="*/ 24 h 104"/>
                  <a:gd name="T72" fmla="*/ 84 w 112"/>
                  <a:gd name="T73" fmla="*/ 24 h 104"/>
                  <a:gd name="T74" fmla="*/ 80 w 112"/>
                  <a:gd name="T75" fmla="*/ 20 h 104"/>
                  <a:gd name="T76" fmla="*/ 76 w 112"/>
                  <a:gd name="T77" fmla="*/ 24 h 104"/>
                  <a:gd name="T78" fmla="*/ 80 w 112"/>
                  <a:gd name="T79" fmla="*/ 28 h 104"/>
                  <a:gd name="T80" fmla="*/ 84 w 112"/>
                  <a:gd name="T81" fmla="*/ 24 h 104"/>
                  <a:gd name="T82" fmla="*/ 96 w 112"/>
                  <a:gd name="T83" fmla="*/ 24 h 104"/>
                  <a:gd name="T84" fmla="*/ 92 w 112"/>
                  <a:gd name="T85" fmla="*/ 20 h 104"/>
                  <a:gd name="T86" fmla="*/ 88 w 112"/>
                  <a:gd name="T87" fmla="*/ 24 h 104"/>
                  <a:gd name="T88" fmla="*/ 92 w 112"/>
                  <a:gd name="T89" fmla="*/ 28 h 104"/>
                  <a:gd name="T90" fmla="*/ 96 w 112"/>
                  <a:gd name="T91"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 h="104">
                    <a:moveTo>
                      <a:pt x="0" y="8"/>
                    </a:moveTo>
                    <a:cubicBezTo>
                      <a:pt x="24" y="8"/>
                      <a:pt x="24" y="8"/>
                      <a:pt x="24" y="8"/>
                    </a:cubicBezTo>
                    <a:cubicBezTo>
                      <a:pt x="24" y="16"/>
                      <a:pt x="24" y="16"/>
                      <a:pt x="24" y="16"/>
                    </a:cubicBezTo>
                    <a:cubicBezTo>
                      <a:pt x="8" y="16"/>
                      <a:pt x="8" y="16"/>
                      <a:pt x="8" y="16"/>
                    </a:cubicBezTo>
                    <a:cubicBezTo>
                      <a:pt x="8" y="32"/>
                      <a:pt x="8" y="32"/>
                      <a:pt x="8" y="32"/>
                    </a:cubicBezTo>
                    <a:cubicBezTo>
                      <a:pt x="24" y="32"/>
                      <a:pt x="24" y="32"/>
                      <a:pt x="24" y="32"/>
                    </a:cubicBezTo>
                    <a:cubicBezTo>
                      <a:pt x="24" y="40"/>
                      <a:pt x="24" y="40"/>
                      <a:pt x="24" y="40"/>
                    </a:cubicBezTo>
                    <a:cubicBezTo>
                      <a:pt x="8" y="40"/>
                      <a:pt x="8" y="40"/>
                      <a:pt x="8" y="40"/>
                    </a:cubicBezTo>
                    <a:cubicBezTo>
                      <a:pt x="8" y="96"/>
                      <a:pt x="8" y="96"/>
                      <a:pt x="8" y="96"/>
                    </a:cubicBezTo>
                    <a:cubicBezTo>
                      <a:pt x="104" y="96"/>
                      <a:pt x="104" y="96"/>
                      <a:pt x="104" y="96"/>
                    </a:cubicBezTo>
                    <a:cubicBezTo>
                      <a:pt x="104" y="40"/>
                      <a:pt x="104" y="40"/>
                      <a:pt x="104" y="40"/>
                    </a:cubicBezTo>
                    <a:cubicBezTo>
                      <a:pt x="48" y="40"/>
                      <a:pt x="48" y="40"/>
                      <a:pt x="48" y="40"/>
                    </a:cubicBezTo>
                    <a:cubicBezTo>
                      <a:pt x="48" y="32"/>
                      <a:pt x="48" y="32"/>
                      <a:pt x="48" y="32"/>
                    </a:cubicBezTo>
                    <a:cubicBezTo>
                      <a:pt x="104" y="32"/>
                      <a:pt x="104" y="32"/>
                      <a:pt x="104" y="32"/>
                    </a:cubicBezTo>
                    <a:cubicBezTo>
                      <a:pt x="104" y="16"/>
                      <a:pt x="104" y="16"/>
                      <a:pt x="104" y="16"/>
                    </a:cubicBezTo>
                    <a:cubicBezTo>
                      <a:pt x="48" y="16"/>
                      <a:pt x="48" y="16"/>
                      <a:pt x="48" y="16"/>
                    </a:cubicBezTo>
                    <a:cubicBezTo>
                      <a:pt x="48" y="8"/>
                      <a:pt x="48" y="8"/>
                      <a:pt x="48" y="8"/>
                    </a:cubicBezTo>
                    <a:cubicBezTo>
                      <a:pt x="112" y="8"/>
                      <a:pt x="112" y="8"/>
                      <a:pt x="112" y="8"/>
                    </a:cubicBezTo>
                    <a:cubicBezTo>
                      <a:pt x="112" y="104"/>
                      <a:pt x="112" y="104"/>
                      <a:pt x="112" y="104"/>
                    </a:cubicBezTo>
                    <a:cubicBezTo>
                      <a:pt x="0" y="104"/>
                      <a:pt x="0" y="104"/>
                      <a:pt x="0" y="104"/>
                    </a:cubicBezTo>
                    <a:lnTo>
                      <a:pt x="0" y="8"/>
                    </a:lnTo>
                    <a:close/>
                    <a:moveTo>
                      <a:pt x="32" y="0"/>
                    </a:moveTo>
                    <a:cubicBezTo>
                      <a:pt x="32" y="71"/>
                      <a:pt x="32" y="71"/>
                      <a:pt x="32" y="71"/>
                    </a:cubicBezTo>
                    <a:cubicBezTo>
                      <a:pt x="22" y="61"/>
                      <a:pt x="22" y="61"/>
                      <a:pt x="22" y="61"/>
                    </a:cubicBezTo>
                    <a:cubicBezTo>
                      <a:pt x="17" y="67"/>
                      <a:pt x="17" y="67"/>
                      <a:pt x="17" y="67"/>
                    </a:cubicBezTo>
                    <a:cubicBezTo>
                      <a:pt x="36" y="86"/>
                      <a:pt x="36" y="86"/>
                      <a:pt x="36" y="86"/>
                    </a:cubicBezTo>
                    <a:cubicBezTo>
                      <a:pt x="54" y="67"/>
                      <a:pt x="54" y="67"/>
                      <a:pt x="54" y="67"/>
                    </a:cubicBezTo>
                    <a:cubicBezTo>
                      <a:pt x="49" y="61"/>
                      <a:pt x="49" y="61"/>
                      <a:pt x="49" y="61"/>
                    </a:cubicBezTo>
                    <a:cubicBezTo>
                      <a:pt x="40" y="71"/>
                      <a:pt x="40" y="71"/>
                      <a:pt x="40" y="71"/>
                    </a:cubicBezTo>
                    <a:cubicBezTo>
                      <a:pt x="40" y="0"/>
                      <a:pt x="40" y="0"/>
                      <a:pt x="40" y="0"/>
                    </a:cubicBezTo>
                    <a:lnTo>
                      <a:pt x="32" y="0"/>
                    </a:lnTo>
                    <a:close/>
                    <a:moveTo>
                      <a:pt x="72" y="24"/>
                    </a:moveTo>
                    <a:cubicBezTo>
                      <a:pt x="72" y="22"/>
                      <a:pt x="70" y="20"/>
                      <a:pt x="68" y="20"/>
                    </a:cubicBezTo>
                    <a:cubicBezTo>
                      <a:pt x="65" y="20"/>
                      <a:pt x="64" y="22"/>
                      <a:pt x="64" y="24"/>
                    </a:cubicBezTo>
                    <a:cubicBezTo>
                      <a:pt x="64" y="26"/>
                      <a:pt x="65" y="28"/>
                      <a:pt x="68" y="28"/>
                    </a:cubicBezTo>
                    <a:cubicBezTo>
                      <a:pt x="70" y="28"/>
                      <a:pt x="72" y="26"/>
                      <a:pt x="72" y="24"/>
                    </a:cubicBezTo>
                    <a:close/>
                    <a:moveTo>
                      <a:pt x="84" y="24"/>
                    </a:moveTo>
                    <a:cubicBezTo>
                      <a:pt x="84" y="22"/>
                      <a:pt x="82" y="20"/>
                      <a:pt x="80" y="20"/>
                    </a:cubicBezTo>
                    <a:cubicBezTo>
                      <a:pt x="77" y="20"/>
                      <a:pt x="76" y="22"/>
                      <a:pt x="76" y="24"/>
                    </a:cubicBezTo>
                    <a:cubicBezTo>
                      <a:pt x="76" y="26"/>
                      <a:pt x="77" y="28"/>
                      <a:pt x="80" y="28"/>
                    </a:cubicBezTo>
                    <a:cubicBezTo>
                      <a:pt x="82" y="28"/>
                      <a:pt x="84" y="26"/>
                      <a:pt x="84" y="24"/>
                    </a:cubicBezTo>
                    <a:close/>
                    <a:moveTo>
                      <a:pt x="96" y="24"/>
                    </a:moveTo>
                    <a:cubicBezTo>
                      <a:pt x="96" y="22"/>
                      <a:pt x="94" y="20"/>
                      <a:pt x="92" y="20"/>
                    </a:cubicBezTo>
                    <a:cubicBezTo>
                      <a:pt x="89" y="20"/>
                      <a:pt x="88" y="22"/>
                      <a:pt x="88" y="24"/>
                    </a:cubicBezTo>
                    <a:cubicBezTo>
                      <a:pt x="88" y="26"/>
                      <a:pt x="89" y="28"/>
                      <a:pt x="92" y="28"/>
                    </a:cubicBezTo>
                    <a:cubicBezTo>
                      <a:pt x="94" y="28"/>
                      <a:pt x="96" y="26"/>
                      <a:pt x="96" y="24"/>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69" name="Rectangle 268">
                <a:extLst>
                  <a:ext uri="{FF2B5EF4-FFF2-40B4-BE49-F238E27FC236}">
                    <a16:creationId xmlns:a16="http://schemas.microsoft.com/office/drawing/2014/main" id="{9709A64E-0DB2-4D8E-8A64-48620D49FAE0}"/>
                  </a:ext>
                </a:extLst>
              </p:cNvPr>
              <p:cNvSpPr/>
              <p:nvPr/>
            </p:nvSpPr>
            <p:spPr>
              <a:xfrm>
                <a:off x="4540502" y="3966555"/>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Restrict download</a:t>
                </a:r>
                <a:endParaRPr kumimoji="0" lang="en-US" sz="1599" b="0" i="0" u="none" strike="noStrike" kern="0" cap="none" spc="0" normalizeH="0" baseline="0" noProof="0">
                  <a:ln>
                    <a:noFill/>
                  </a:ln>
                  <a:solidFill>
                    <a:srgbClr val="353535"/>
                  </a:solidFill>
                  <a:effectLst/>
                  <a:uLnTx/>
                  <a:uFillTx/>
                  <a:latin typeface="Segoe UI Semilight"/>
                </a:endParaRPr>
              </a:p>
            </p:txBody>
          </p:sp>
        </p:grpSp>
        <p:grpSp>
          <p:nvGrpSpPr>
            <p:cNvPr id="255" name="Group 254">
              <a:extLst>
                <a:ext uri="{FF2B5EF4-FFF2-40B4-BE49-F238E27FC236}">
                  <a16:creationId xmlns:a16="http://schemas.microsoft.com/office/drawing/2014/main" id="{3931E688-D7D2-44E8-B4EA-7C41FED6DFE7}"/>
                </a:ext>
              </a:extLst>
            </p:cNvPr>
            <p:cNvGrpSpPr/>
            <p:nvPr/>
          </p:nvGrpSpPr>
          <p:grpSpPr>
            <a:xfrm>
              <a:off x="5759509" y="3659270"/>
              <a:ext cx="2133259" cy="365760"/>
              <a:chOff x="4236042" y="2921879"/>
              <a:chExt cx="2133259" cy="365760"/>
            </a:xfrm>
          </p:grpSpPr>
          <p:pic>
            <p:nvPicPr>
              <p:cNvPr id="266" name="Picture 265">
                <a:extLst>
                  <a:ext uri="{FF2B5EF4-FFF2-40B4-BE49-F238E27FC236}">
                    <a16:creationId xmlns:a16="http://schemas.microsoft.com/office/drawing/2014/main" id="{702FA509-CBEB-4194-BD35-14AA4B9ABA98}"/>
                  </a:ext>
                </a:extLst>
              </p:cNvPr>
              <p:cNvPicPr>
                <a:picLocks noChangeAspect="1"/>
              </p:cNvPicPr>
              <p:nvPr/>
            </p:nvPicPr>
            <p:blipFill>
              <a:blip r:embed="rId3"/>
              <a:stretch>
                <a:fillRect/>
              </a:stretch>
            </p:blipFill>
            <p:spPr>
              <a:xfrm>
                <a:off x="4236042" y="2921879"/>
                <a:ext cx="365760" cy="365760"/>
              </a:xfrm>
              <a:prstGeom prst="rect">
                <a:avLst/>
              </a:prstGeom>
            </p:spPr>
          </p:pic>
          <p:sp>
            <p:nvSpPr>
              <p:cNvPr id="267" name="Rectangle 266">
                <a:extLst>
                  <a:ext uri="{FF2B5EF4-FFF2-40B4-BE49-F238E27FC236}">
                    <a16:creationId xmlns:a16="http://schemas.microsoft.com/office/drawing/2014/main" id="{87AB91D5-5347-4916-B0F5-3D5576C2B3AD}"/>
                  </a:ext>
                </a:extLst>
              </p:cNvPr>
              <p:cNvSpPr/>
              <p:nvPr/>
            </p:nvSpPr>
            <p:spPr>
              <a:xfrm>
                <a:off x="4540501" y="2944739"/>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Enforce MFA</a:t>
                </a:r>
                <a:endParaRPr kumimoji="0" lang="en-US" sz="1599" b="0" i="0" u="none" strike="noStrike" kern="0" cap="none" spc="0" normalizeH="0" baseline="0" noProof="0">
                  <a:ln>
                    <a:noFill/>
                  </a:ln>
                  <a:solidFill>
                    <a:srgbClr val="353535"/>
                  </a:solidFill>
                  <a:effectLst/>
                  <a:uLnTx/>
                  <a:uFillTx/>
                  <a:latin typeface="Segoe UI Semilight"/>
                </a:endParaRPr>
              </a:p>
            </p:txBody>
          </p:sp>
        </p:grpSp>
        <p:grpSp>
          <p:nvGrpSpPr>
            <p:cNvPr id="256" name="Group 255">
              <a:extLst>
                <a:ext uri="{FF2B5EF4-FFF2-40B4-BE49-F238E27FC236}">
                  <a16:creationId xmlns:a16="http://schemas.microsoft.com/office/drawing/2014/main" id="{EFC24BB0-DA9F-4368-A8C2-4C4EDBA75B0F}"/>
                </a:ext>
              </a:extLst>
            </p:cNvPr>
            <p:cNvGrpSpPr/>
            <p:nvPr/>
          </p:nvGrpSpPr>
          <p:grpSpPr>
            <a:xfrm>
              <a:off x="5759509" y="3159162"/>
              <a:ext cx="2103121" cy="320040"/>
              <a:chOff x="4266181" y="2511709"/>
              <a:chExt cx="2103121" cy="320040"/>
            </a:xfrm>
          </p:grpSpPr>
          <p:sp>
            <p:nvSpPr>
              <p:cNvPr id="263" name="Rectangle 262">
                <a:extLst>
                  <a:ext uri="{FF2B5EF4-FFF2-40B4-BE49-F238E27FC236}">
                    <a16:creationId xmlns:a16="http://schemas.microsoft.com/office/drawing/2014/main" id="{BD5EF3FE-55F3-49E3-8C77-7871A562A59C}"/>
                  </a:ext>
                </a:extLst>
              </p:cNvPr>
              <p:cNvSpPr/>
              <p:nvPr/>
            </p:nvSpPr>
            <p:spPr>
              <a:xfrm>
                <a:off x="4540502" y="2511709"/>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Block sign-in</a:t>
                </a:r>
                <a:endParaRPr kumimoji="0" lang="en-US" sz="1599" b="0" i="0" u="none" strike="noStrike" kern="0" cap="none" spc="0" normalizeH="0" baseline="0" noProof="0">
                  <a:ln>
                    <a:noFill/>
                  </a:ln>
                  <a:solidFill>
                    <a:srgbClr val="353535"/>
                  </a:solidFill>
                  <a:effectLst/>
                  <a:uLnTx/>
                  <a:uFillTx/>
                  <a:latin typeface="Segoe UI Semilight"/>
                </a:endParaRPr>
              </a:p>
            </p:txBody>
          </p:sp>
          <p:sp>
            <p:nvSpPr>
              <p:cNvPr id="264" name="Oval 263">
                <a:extLst>
                  <a:ext uri="{FF2B5EF4-FFF2-40B4-BE49-F238E27FC236}">
                    <a16:creationId xmlns:a16="http://schemas.microsoft.com/office/drawing/2014/main" id="{8F17BE2F-43E9-4396-ABAE-2182AC371587}"/>
                  </a:ext>
                </a:extLst>
              </p:cNvPr>
              <p:cNvSpPr/>
              <p:nvPr/>
            </p:nvSpPr>
            <p:spPr bwMode="auto">
              <a:xfrm>
                <a:off x="4266181" y="2534569"/>
                <a:ext cx="274320" cy="274320"/>
              </a:xfrm>
              <a:prstGeom prst="ellipse">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Freeform 11">
                <a:extLst>
                  <a:ext uri="{FF2B5EF4-FFF2-40B4-BE49-F238E27FC236}">
                    <a16:creationId xmlns:a16="http://schemas.microsoft.com/office/drawing/2014/main" id="{C318E09B-D9D5-4704-A12E-1679DD9C4AAE}"/>
                  </a:ext>
                </a:extLst>
              </p:cNvPr>
              <p:cNvSpPr>
                <a:spLocks/>
              </p:cNvSpPr>
              <p:nvPr/>
            </p:nvSpPr>
            <p:spPr bwMode="auto">
              <a:xfrm>
                <a:off x="4311869" y="2580257"/>
                <a:ext cx="182944" cy="182944"/>
              </a:xfrm>
              <a:custGeom>
                <a:avLst/>
                <a:gdLst>
                  <a:gd name="T0" fmla="*/ 380 w 380"/>
                  <a:gd name="T1" fmla="*/ 19 h 380"/>
                  <a:gd name="T2" fmla="*/ 361 w 380"/>
                  <a:gd name="T3" fmla="*/ 0 h 380"/>
                  <a:gd name="T4" fmla="*/ 190 w 380"/>
                  <a:gd name="T5" fmla="*/ 171 h 380"/>
                  <a:gd name="T6" fmla="*/ 19 w 380"/>
                  <a:gd name="T7" fmla="*/ 0 h 380"/>
                  <a:gd name="T8" fmla="*/ 0 w 380"/>
                  <a:gd name="T9" fmla="*/ 19 h 380"/>
                  <a:gd name="T10" fmla="*/ 171 w 380"/>
                  <a:gd name="T11" fmla="*/ 190 h 380"/>
                  <a:gd name="T12" fmla="*/ 0 w 380"/>
                  <a:gd name="T13" fmla="*/ 361 h 380"/>
                  <a:gd name="T14" fmla="*/ 19 w 380"/>
                  <a:gd name="T15" fmla="*/ 380 h 380"/>
                  <a:gd name="T16" fmla="*/ 190 w 380"/>
                  <a:gd name="T17" fmla="*/ 209 h 380"/>
                  <a:gd name="T18" fmla="*/ 361 w 380"/>
                  <a:gd name="T19" fmla="*/ 380 h 380"/>
                  <a:gd name="T20" fmla="*/ 380 w 380"/>
                  <a:gd name="T21" fmla="*/ 361 h 380"/>
                  <a:gd name="T22" fmla="*/ 210 w 380"/>
                  <a:gd name="T23" fmla="*/ 190 h 380"/>
                  <a:gd name="T24" fmla="*/ 380 w 380"/>
                  <a:gd name="T25"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380">
                    <a:moveTo>
                      <a:pt x="380" y="19"/>
                    </a:moveTo>
                    <a:lnTo>
                      <a:pt x="361" y="0"/>
                    </a:lnTo>
                    <a:lnTo>
                      <a:pt x="190" y="171"/>
                    </a:lnTo>
                    <a:lnTo>
                      <a:pt x="19" y="0"/>
                    </a:lnTo>
                    <a:lnTo>
                      <a:pt x="0" y="19"/>
                    </a:lnTo>
                    <a:lnTo>
                      <a:pt x="171" y="190"/>
                    </a:lnTo>
                    <a:lnTo>
                      <a:pt x="0" y="361"/>
                    </a:lnTo>
                    <a:lnTo>
                      <a:pt x="19" y="380"/>
                    </a:lnTo>
                    <a:lnTo>
                      <a:pt x="190" y="209"/>
                    </a:lnTo>
                    <a:lnTo>
                      <a:pt x="361" y="380"/>
                    </a:lnTo>
                    <a:lnTo>
                      <a:pt x="380" y="361"/>
                    </a:lnTo>
                    <a:lnTo>
                      <a:pt x="210" y="190"/>
                    </a:lnTo>
                    <a:lnTo>
                      <a:pt x="380" y="19"/>
                    </a:ln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grpSp>
          <p:nvGrpSpPr>
            <p:cNvPr id="257" name="Group 256">
              <a:extLst>
                <a:ext uri="{FF2B5EF4-FFF2-40B4-BE49-F238E27FC236}">
                  <a16:creationId xmlns:a16="http://schemas.microsoft.com/office/drawing/2014/main" id="{2D0305AB-8FDB-4888-BA08-5BC516BFF009}"/>
                </a:ext>
              </a:extLst>
            </p:cNvPr>
            <p:cNvGrpSpPr/>
            <p:nvPr/>
          </p:nvGrpSpPr>
          <p:grpSpPr>
            <a:xfrm>
              <a:off x="5759509" y="2659054"/>
              <a:ext cx="2103121" cy="320040"/>
              <a:chOff x="4266181" y="2096062"/>
              <a:chExt cx="2103121" cy="320040"/>
            </a:xfrm>
          </p:grpSpPr>
          <p:sp>
            <p:nvSpPr>
              <p:cNvPr id="260" name="Rectangle 259">
                <a:extLst>
                  <a:ext uri="{FF2B5EF4-FFF2-40B4-BE49-F238E27FC236}">
                    <a16:creationId xmlns:a16="http://schemas.microsoft.com/office/drawing/2014/main" id="{3C50721B-0424-4AB0-BE28-C739F5043899}"/>
                  </a:ext>
                </a:extLst>
              </p:cNvPr>
              <p:cNvSpPr/>
              <p:nvPr/>
            </p:nvSpPr>
            <p:spPr>
              <a:xfrm>
                <a:off x="4540502" y="2096062"/>
                <a:ext cx="1828800" cy="320040"/>
              </a:xfrm>
              <a:prstGeom prst="rect">
                <a:avLst/>
              </a:prstGeom>
            </p:spPr>
            <p:txBody>
              <a:bodyPr wrap="none" anchor="ctr">
                <a:no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Allow sign-in</a:t>
                </a:r>
                <a:endParaRPr kumimoji="0" lang="en-US" sz="1599" b="0" i="0" u="none" strike="noStrike" kern="0" cap="none" spc="0" normalizeH="0" baseline="0" noProof="0">
                  <a:ln>
                    <a:noFill/>
                  </a:ln>
                  <a:solidFill>
                    <a:srgbClr val="353535"/>
                  </a:solidFill>
                  <a:effectLst/>
                  <a:uLnTx/>
                  <a:uFillTx/>
                  <a:latin typeface="Segoe UI Semilight"/>
                </a:endParaRPr>
              </a:p>
            </p:txBody>
          </p:sp>
          <p:sp>
            <p:nvSpPr>
              <p:cNvPr id="261" name="Oval 260">
                <a:extLst>
                  <a:ext uri="{FF2B5EF4-FFF2-40B4-BE49-F238E27FC236}">
                    <a16:creationId xmlns:a16="http://schemas.microsoft.com/office/drawing/2014/main" id="{3E79DC27-B936-4AA9-B41E-B328A7E38893}"/>
                  </a:ext>
                </a:extLst>
              </p:cNvPr>
              <p:cNvSpPr/>
              <p:nvPr/>
            </p:nvSpPr>
            <p:spPr bwMode="auto">
              <a:xfrm>
                <a:off x="4266181" y="2118922"/>
                <a:ext cx="274320" cy="274320"/>
              </a:xfrm>
              <a:prstGeom prst="ellipse">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Freeform 23">
                <a:extLst>
                  <a:ext uri="{FF2B5EF4-FFF2-40B4-BE49-F238E27FC236}">
                    <a16:creationId xmlns:a16="http://schemas.microsoft.com/office/drawing/2014/main" id="{02200F0E-DADA-4D2C-BCF6-B3BA93CF4BBA}"/>
                  </a:ext>
                </a:extLst>
              </p:cNvPr>
              <p:cNvSpPr>
                <a:spLocks/>
              </p:cNvSpPr>
              <p:nvPr/>
            </p:nvSpPr>
            <p:spPr bwMode="auto">
              <a:xfrm>
                <a:off x="4314417" y="2189390"/>
                <a:ext cx="177848" cy="133386"/>
              </a:xfrm>
              <a:custGeom>
                <a:avLst/>
                <a:gdLst>
                  <a:gd name="T0" fmla="*/ 308 w 308"/>
                  <a:gd name="T1" fmla="*/ 20 h 231"/>
                  <a:gd name="T2" fmla="*/ 288 w 308"/>
                  <a:gd name="T3" fmla="*/ 0 h 231"/>
                  <a:gd name="T4" fmla="*/ 96 w 308"/>
                  <a:gd name="T5" fmla="*/ 193 h 231"/>
                  <a:gd name="T6" fmla="*/ 20 w 308"/>
                  <a:gd name="T7" fmla="*/ 116 h 231"/>
                  <a:gd name="T8" fmla="*/ 0 w 308"/>
                  <a:gd name="T9" fmla="*/ 135 h 231"/>
                  <a:gd name="T10" fmla="*/ 96 w 308"/>
                  <a:gd name="T11" fmla="*/ 231 h 231"/>
                  <a:gd name="T12" fmla="*/ 308 w 308"/>
                  <a:gd name="T13" fmla="*/ 20 h 231"/>
                </a:gdLst>
                <a:ahLst/>
                <a:cxnLst>
                  <a:cxn ang="0">
                    <a:pos x="T0" y="T1"/>
                  </a:cxn>
                  <a:cxn ang="0">
                    <a:pos x="T2" y="T3"/>
                  </a:cxn>
                  <a:cxn ang="0">
                    <a:pos x="T4" y="T5"/>
                  </a:cxn>
                  <a:cxn ang="0">
                    <a:pos x="T6" y="T7"/>
                  </a:cxn>
                  <a:cxn ang="0">
                    <a:pos x="T8" y="T9"/>
                  </a:cxn>
                  <a:cxn ang="0">
                    <a:pos x="T10" y="T11"/>
                  </a:cxn>
                  <a:cxn ang="0">
                    <a:pos x="T12" y="T13"/>
                  </a:cxn>
                </a:cxnLst>
                <a:rect l="0" t="0" r="r" b="b"/>
                <a:pathLst>
                  <a:path w="308" h="231">
                    <a:moveTo>
                      <a:pt x="308" y="20"/>
                    </a:moveTo>
                    <a:lnTo>
                      <a:pt x="288" y="0"/>
                    </a:lnTo>
                    <a:lnTo>
                      <a:pt x="96" y="193"/>
                    </a:lnTo>
                    <a:lnTo>
                      <a:pt x="20" y="116"/>
                    </a:lnTo>
                    <a:lnTo>
                      <a:pt x="0" y="135"/>
                    </a:lnTo>
                    <a:lnTo>
                      <a:pt x="96" y="231"/>
                    </a:lnTo>
                    <a:lnTo>
                      <a:pt x="308" y="20"/>
                    </a:lnTo>
                    <a:close/>
                  </a:path>
                </a:pathLst>
              </a:custGeom>
              <a:solidFill>
                <a:srgbClr val="FFFFFF"/>
              </a:solidFill>
              <a:ln>
                <a:noFill/>
              </a:ln>
              <a:extLst/>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sp>
          <p:nvSpPr>
            <p:cNvPr id="258" name="Rectangle 257">
              <a:extLst>
                <a:ext uri="{FF2B5EF4-FFF2-40B4-BE49-F238E27FC236}">
                  <a16:creationId xmlns:a16="http://schemas.microsoft.com/office/drawing/2014/main" id="{A7CF89A5-568D-45F5-8364-7A8121CD414B}"/>
                </a:ext>
              </a:extLst>
            </p:cNvPr>
            <p:cNvSpPr/>
            <p:nvPr/>
          </p:nvSpPr>
          <p:spPr>
            <a:xfrm>
              <a:off x="5605401" y="2152521"/>
              <a:ext cx="1555262"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cs typeface="Segoe UI" pitchFamily="34" charset="0"/>
                </a:rPr>
                <a:t>Access Control</a:t>
              </a: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59" name="Rectangle 258">
              <a:extLst>
                <a:ext uri="{FF2B5EF4-FFF2-40B4-BE49-F238E27FC236}">
                  <a16:creationId xmlns:a16="http://schemas.microsoft.com/office/drawing/2014/main" id="{FF19AC5B-8FDA-4CC9-878E-16480A11C9DA}"/>
                </a:ext>
              </a:extLst>
            </p:cNvPr>
            <p:cNvSpPr/>
            <p:nvPr/>
          </p:nvSpPr>
          <p:spPr>
            <a:xfrm>
              <a:off x="5605401" y="4247965"/>
              <a:ext cx="1979990"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cs typeface="Segoe UI" pitchFamily="34" charset="0"/>
                </a:rPr>
                <a:t>Session Restrictions</a:t>
              </a:r>
              <a:endParaRPr kumimoji="0" lang="en-US" sz="1801" b="0" i="0" u="none" strike="noStrike" kern="0" cap="none" spc="0" normalizeH="0" baseline="0" noProof="0">
                <a:ln>
                  <a:noFill/>
                </a:ln>
                <a:solidFill>
                  <a:srgbClr val="353535"/>
                </a:solidFill>
                <a:effectLst/>
                <a:uLnTx/>
                <a:uFillTx/>
                <a:latin typeface="Segoe UI Semilight"/>
              </a:endParaRPr>
            </a:p>
          </p:txBody>
        </p:sp>
      </p:grpSp>
      <p:grpSp>
        <p:nvGrpSpPr>
          <p:cNvPr id="277" name="Group 276">
            <a:extLst>
              <a:ext uri="{FF2B5EF4-FFF2-40B4-BE49-F238E27FC236}">
                <a16:creationId xmlns:a16="http://schemas.microsoft.com/office/drawing/2014/main" id="{E4EC70A0-E581-451A-9789-737B3871F0EB}"/>
              </a:ext>
            </a:extLst>
          </p:cNvPr>
          <p:cNvGrpSpPr/>
          <p:nvPr/>
        </p:nvGrpSpPr>
        <p:grpSpPr>
          <a:xfrm>
            <a:off x="1681957" y="1878890"/>
            <a:ext cx="3475202" cy="4571352"/>
            <a:chOff x="1777479" y="2068518"/>
            <a:chExt cx="3475695" cy="4572000"/>
          </a:xfrm>
        </p:grpSpPr>
        <p:sp>
          <p:nvSpPr>
            <p:cNvPr id="278" name="Rectangle 277">
              <a:extLst>
                <a:ext uri="{FF2B5EF4-FFF2-40B4-BE49-F238E27FC236}">
                  <a16:creationId xmlns:a16="http://schemas.microsoft.com/office/drawing/2014/main" id="{397EBE24-80B4-40F1-B303-8E6119A640D0}"/>
                </a:ext>
              </a:extLst>
            </p:cNvPr>
            <p:cNvSpPr/>
            <p:nvPr/>
          </p:nvSpPr>
          <p:spPr bwMode="auto">
            <a:xfrm>
              <a:off x="1777479" y="2068518"/>
              <a:ext cx="3474720" cy="45720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9196" rIns="186495" bIns="149196" numCol="1" spcCol="0" rtlCol="0" fromWordArt="0" anchor="t" anchorCtr="0" forceAA="0" compatLnSpc="1">
              <a:prstTxWarp prst="textNoShape">
                <a:avLst/>
              </a:prstTxWarp>
              <a:noAutofit/>
            </a:bodyPr>
            <a:lstStyle/>
            <a:p>
              <a:pPr marL="0" marR="0" lvl="0" indent="0" defTabSz="950966" eaLnBrk="1" fontAlgn="auto" latinLnBrk="0" hangingPunct="1">
                <a:lnSpc>
                  <a:spcPct val="90000"/>
                </a:lnSpc>
                <a:spcBef>
                  <a:spcPts val="612"/>
                </a:spcBef>
                <a:spcAft>
                  <a:spcPts val="0"/>
                </a:spcAft>
                <a:buClrTx/>
                <a:buSzTx/>
                <a:buFontTx/>
                <a:buNone/>
                <a:tabLst/>
                <a:defRPr/>
              </a:pPr>
              <a:endPar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endParaRPr>
            </a:p>
          </p:txBody>
        </p:sp>
        <p:sp>
          <p:nvSpPr>
            <p:cNvPr id="279" name="Freeform 28">
              <a:extLst>
                <a:ext uri="{FF2B5EF4-FFF2-40B4-BE49-F238E27FC236}">
                  <a16:creationId xmlns:a16="http://schemas.microsoft.com/office/drawing/2014/main" id="{491192BF-638E-431E-908E-014BFBB27191}"/>
                </a:ext>
              </a:extLst>
            </p:cNvPr>
            <p:cNvSpPr>
              <a:spLocks noEditPoints="1"/>
            </p:cNvSpPr>
            <p:nvPr/>
          </p:nvSpPr>
          <p:spPr bwMode="auto">
            <a:xfrm>
              <a:off x="2011031" y="3482376"/>
              <a:ext cx="434975" cy="360363"/>
            </a:xfrm>
            <a:custGeom>
              <a:avLst/>
              <a:gdLst>
                <a:gd name="T0" fmla="*/ 0 w 116"/>
                <a:gd name="T1" fmla="*/ 96 h 96"/>
                <a:gd name="T2" fmla="*/ 78 w 116"/>
                <a:gd name="T3" fmla="*/ 80 h 96"/>
                <a:gd name="T4" fmla="*/ 112 w 116"/>
                <a:gd name="T5" fmla="*/ 80 h 96"/>
                <a:gd name="T6" fmla="*/ 116 w 116"/>
                <a:gd name="T7" fmla="*/ 8 h 96"/>
                <a:gd name="T8" fmla="*/ 108 w 116"/>
                <a:gd name="T9" fmla="*/ 0 h 96"/>
                <a:gd name="T10" fmla="*/ 64 w 116"/>
                <a:gd name="T11" fmla="*/ 0 h 96"/>
                <a:gd name="T12" fmla="*/ 64 w 116"/>
                <a:gd name="T13" fmla="*/ 16 h 96"/>
                <a:gd name="T14" fmla="*/ 8 w 116"/>
                <a:gd name="T15" fmla="*/ 20 h 96"/>
                <a:gd name="T16" fmla="*/ 8 w 116"/>
                <a:gd name="T17" fmla="*/ 56 h 96"/>
                <a:gd name="T18" fmla="*/ 16 w 116"/>
                <a:gd name="T19" fmla="*/ 64 h 96"/>
                <a:gd name="T20" fmla="*/ 40 w 116"/>
                <a:gd name="T21" fmla="*/ 72 h 96"/>
                <a:gd name="T22" fmla="*/ 108 w 116"/>
                <a:gd name="T23" fmla="*/ 72 h 96"/>
                <a:gd name="T24" fmla="*/ 72 w 116"/>
                <a:gd name="T25" fmla="*/ 64 h 96"/>
                <a:gd name="T26" fmla="*/ 80 w 116"/>
                <a:gd name="T27" fmla="*/ 56 h 96"/>
                <a:gd name="T28" fmla="*/ 108 w 116"/>
                <a:gd name="T29" fmla="*/ 72 h 96"/>
                <a:gd name="T30" fmla="*/ 80 w 116"/>
                <a:gd name="T31" fmla="*/ 48 h 96"/>
                <a:gd name="T32" fmla="*/ 108 w 116"/>
                <a:gd name="T33" fmla="*/ 32 h 96"/>
                <a:gd name="T34" fmla="*/ 72 w 116"/>
                <a:gd name="T35" fmla="*/ 8 h 96"/>
                <a:gd name="T36" fmla="*/ 108 w 116"/>
                <a:gd name="T37" fmla="*/ 24 h 96"/>
                <a:gd name="T38" fmla="*/ 80 w 116"/>
                <a:gd name="T39" fmla="*/ 20 h 96"/>
                <a:gd name="T40" fmla="*/ 72 w 116"/>
                <a:gd name="T41" fmla="*/ 16 h 96"/>
                <a:gd name="T42" fmla="*/ 16 w 116"/>
                <a:gd name="T43" fmla="*/ 56 h 96"/>
                <a:gd name="T44" fmla="*/ 72 w 116"/>
                <a:gd name="T45" fmla="*/ 24 h 96"/>
                <a:gd name="T46" fmla="*/ 64 w 116"/>
                <a:gd name="T47" fmla="*/ 56 h 96"/>
                <a:gd name="T48" fmla="*/ 64 w 116"/>
                <a:gd name="T49" fmla="*/ 64 h 96"/>
                <a:gd name="T50" fmla="*/ 48 w 116"/>
                <a:gd name="T51" fmla="*/ 72 h 96"/>
                <a:gd name="T52" fmla="*/ 64 w 116"/>
                <a:gd name="T53" fmla="*/ 64 h 96"/>
                <a:gd name="T54" fmla="*/ 64 w 116"/>
                <a:gd name="T55" fmla="*/ 80 h 96"/>
                <a:gd name="T56" fmla="*/ 73 w 116"/>
                <a:gd name="T57" fmla="*/ 88 h 96"/>
                <a:gd name="T58" fmla="*/ 20 w 116"/>
                <a:gd name="T59" fmla="*/ 80 h 96"/>
                <a:gd name="T60" fmla="*/ 48 w 116"/>
                <a:gd name="T61" fmla="*/ 80 h 96"/>
                <a:gd name="T62" fmla="*/ 96 w 116"/>
                <a:gd name="T63" fmla="*/ 96 h 96"/>
                <a:gd name="T64" fmla="*/ 112 w 116"/>
                <a:gd name="T65" fmla="*/ 96 h 96"/>
                <a:gd name="T66" fmla="*/ 96 w 116"/>
                <a:gd name="T67" fmla="*/ 20 h 96"/>
                <a:gd name="T68" fmla="*/ 104 w 116"/>
                <a:gd name="T6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96">
                  <a:moveTo>
                    <a:pt x="16" y="72"/>
                  </a:moveTo>
                  <a:cubicBezTo>
                    <a:pt x="0" y="96"/>
                    <a:pt x="0" y="96"/>
                    <a:pt x="0" y="96"/>
                  </a:cubicBezTo>
                  <a:cubicBezTo>
                    <a:pt x="88" y="96"/>
                    <a:pt x="88" y="96"/>
                    <a:pt x="88" y="96"/>
                  </a:cubicBezTo>
                  <a:cubicBezTo>
                    <a:pt x="78" y="80"/>
                    <a:pt x="78" y="80"/>
                    <a:pt x="78" y="80"/>
                  </a:cubicBezTo>
                  <a:cubicBezTo>
                    <a:pt x="108" y="80"/>
                    <a:pt x="108" y="80"/>
                    <a:pt x="108" y="80"/>
                  </a:cubicBezTo>
                  <a:cubicBezTo>
                    <a:pt x="112" y="80"/>
                    <a:pt x="112" y="80"/>
                    <a:pt x="112" y="80"/>
                  </a:cubicBezTo>
                  <a:cubicBezTo>
                    <a:pt x="116" y="80"/>
                    <a:pt x="116" y="80"/>
                    <a:pt x="116" y="80"/>
                  </a:cubicBezTo>
                  <a:cubicBezTo>
                    <a:pt x="116" y="8"/>
                    <a:pt x="116" y="8"/>
                    <a:pt x="116" y="8"/>
                  </a:cubicBezTo>
                  <a:cubicBezTo>
                    <a:pt x="116" y="0"/>
                    <a:pt x="116" y="0"/>
                    <a:pt x="116" y="0"/>
                  </a:cubicBezTo>
                  <a:cubicBezTo>
                    <a:pt x="108" y="0"/>
                    <a:pt x="108" y="0"/>
                    <a:pt x="108" y="0"/>
                  </a:cubicBezTo>
                  <a:cubicBezTo>
                    <a:pt x="72" y="0"/>
                    <a:pt x="72" y="0"/>
                    <a:pt x="72" y="0"/>
                  </a:cubicBezTo>
                  <a:cubicBezTo>
                    <a:pt x="64" y="0"/>
                    <a:pt x="64" y="0"/>
                    <a:pt x="64" y="0"/>
                  </a:cubicBezTo>
                  <a:cubicBezTo>
                    <a:pt x="64" y="8"/>
                    <a:pt x="64" y="8"/>
                    <a:pt x="64" y="8"/>
                  </a:cubicBezTo>
                  <a:cubicBezTo>
                    <a:pt x="64" y="16"/>
                    <a:pt x="64" y="16"/>
                    <a:pt x="64" y="16"/>
                  </a:cubicBezTo>
                  <a:cubicBezTo>
                    <a:pt x="8" y="16"/>
                    <a:pt x="8" y="16"/>
                    <a:pt x="8" y="16"/>
                  </a:cubicBezTo>
                  <a:cubicBezTo>
                    <a:pt x="8" y="20"/>
                    <a:pt x="8" y="20"/>
                    <a:pt x="8" y="20"/>
                  </a:cubicBezTo>
                  <a:cubicBezTo>
                    <a:pt x="8" y="24"/>
                    <a:pt x="8" y="24"/>
                    <a:pt x="8" y="24"/>
                  </a:cubicBezTo>
                  <a:cubicBezTo>
                    <a:pt x="8" y="56"/>
                    <a:pt x="8" y="56"/>
                    <a:pt x="8" y="56"/>
                  </a:cubicBezTo>
                  <a:cubicBezTo>
                    <a:pt x="8" y="64"/>
                    <a:pt x="8" y="64"/>
                    <a:pt x="8" y="64"/>
                  </a:cubicBezTo>
                  <a:cubicBezTo>
                    <a:pt x="16" y="64"/>
                    <a:pt x="16" y="64"/>
                    <a:pt x="16" y="64"/>
                  </a:cubicBezTo>
                  <a:cubicBezTo>
                    <a:pt x="40" y="64"/>
                    <a:pt x="40" y="64"/>
                    <a:pt x="40" y="64"/>
                  </a:cubicBezTo>
                  <a:cubicBezTo>
                    <a:pt x="40" y="72"/>
                    <a:pt x="40" y="72"/>
                    <a:pt x="40" y="72"/>
                  </a:cubicBezTo>
                  <a:lnTo>
                    <a:pt x="16" y="72"/>
                  </a:lnTo>
                  <a:close/>
                  <a:moveTo>
                    <a:pt x="108" y="72"/>
                  </a:moveTo>
                  <a:cubicBezTo>
                    <a:pt x="72" y="72"/>
                    <a:pt x="72" y="72"/>
                    <a:pt x="72" y="72"/>
                  </a:cubicBezTo>
                  <a:cubicBezTo>
                    <a:pt x="72" y="64"/>
                    <a:pt x="72" y="64"/>
                    <a:pt x="72" y="64"/>
                  </a:cubicBezTo>
                  <a:cubicBezTo>
                    <a:pt x="80" y="64"/>
                    <a:pt x="80" y="64"/>
                    <a:pt x="80" y="64"/>
                  </a:cubicBezTo>
                  <a:cubicBezTo>
                    <a:pt x="80" y="56"/>
                    <a:pt x="80" y="56"/>
                    <a:pt x="80" y="56"/>
                  </a:cubicBezTo>
                  <a:cubicBezTo>
                    <a:pt x="108" y="56"/>
                    <a:pt x="108" y="56"/>
                    <a:pt x="108" y="56"/>
                  </a:cubicBezTo>
                  <a:lnTo>
                    <a:pt x="108" y="72"/>
                  </a:lnTo>
                  <a:close/>
                  <a:moveTo>
                    <a:pt x="108" y="48"/>
                  </a:moveTo>
                  <a:cubicBezTo>
                    <a:pt x="80" y="48"/>
                    <a:pt x="80" y="48"/>
                    <a:pt x="80" y="48"/>
                  </a:cubicBezTo>
                  <a:cubicBezTo>
                    <a:pt x="80" y="32"/>
                    <a:pt x="80" y="32"/>
                    <a:pt x="80" y="32"/>
                  </a:cubicBezTo>
                  <a:cubicBezTo>
                    <a:pt x="108" y="32"/>
                    <a:pt x="108" y="32"/>
                    <a:pt x="108" y="32"/>
                  </a:cubicBezTo>
                  <a:lnTo>
                    <a:pt x="108" y="48"/>
                  </a:lnTo>
                  <a:close/>
                  <a:moveTo>
                    <a:pt x="72" y="8"/>
                  </a:moveTo>
                  <a:cubicBezTo>
                    <a:pt x="108" y="8"/>
                    <a:pt x="108" y="8"/>
                    <a:pt x="108" y="8"/>
                  </a:cubicBezTo>
                  <a:cubicBezTo>
                    <a:pt x="108" y="24"/>
                    <a:pt x="108" y="24"/>
                    <a:pt x="108" y="24"/>
                  </a:cubicBezTo>
                  <a:cubicBezTo>
                    <a:pt x="80" y="24"/>
                    <a:pt x="80" y="24"/>
                    <a:pt x="80" y="24"/>
                  </a:cubicBezTo>
                  <a:cubicBezTo>
                    <a:pt x="80" y="20"/>
                    <a:pt x="80" y="20"/>
                    <a:pt x="80" y="20"/>
                  </a:cubicBezTo>
                  <a:cubicBezTo>
                    <a:pt x="80" y="16"/>
                    <a:pt x="80" y="16"/>
                    <a:pt x="80" y="16"/>
                  </a:cubicBezTo>
                  <a:cubicBezTo>
                    <a:pt x="72" y="16"/>
                    <a:pt x="72" y="16"/>
                    <a:pt x="72" y="16"/>
                  </a:cubicBezTo>
                  <a:lnTo>
                    <a:pt x="72" y="8"/>
                  </a:lnTo>
                  <a:close/>
                  <a:moveTo>
                    <a:pt x="16" y="56"/>
                  </a:moveTo>
                  <a:cubicBezTo>
                    <a:pt x="16" y="24"/>
                    <a:pt x="16" y="24"/>
                    <a:pt x="16" y="24"/>
                  </a:cubicBezTo>
                  <a:cubicBezTo>
                    <a:pt x="72" y="24"/>
                    <a:pt x="72" y="24"/>
                    <a:pt x="72" y="24"/>
                  </a:cubicBezTo>
                  <a:cubicBezTo>
                    <a:pt x="72" y="56"/>
                    <a:pt x="72" y="56"/>
                    <a:pt x="72" y="56"/>
                  </a:cubicBezTo>
                  <a:cubicBezTo>
                    <a:pt x="64" y="56"/>
                    <a:pt x="64" y="56"/>
                    <a:pt x="64" y="56"/>
                  </a:cubicBezTo>
                  <a:lnTo>
                    <a:pt x="16" y="56"/>
                  </a:lnTo>
                  <a:close/>
                  <a:moveTo>
                    <a:pt x="64" y="64"/>
                  </a:moveTo>
                  <a:cubicBezTo>
                    <a:pt x="64" y="72"/>
                    <a:pt x="64" y="72"/>
                    <a:pt x="64" y="72"/>
                  </a:cubicBezTo>
                  <a:cubicBezTo>
                    <a:pt x="48" y="72"/>
                    <a:pt x="48" y="72"/>
                    <a:pt x="48" y="72"/>
                  </a:cubicBezTo>
                  <a:cubicBezTo>
                    <a:pt x="48" y="64"/>
                    <a:pt x="48" y="64"/>
                    <a:pt x="48" y="64"/>
                  </a:cubicBezTo>
                  <a:lnTo>
                    <a:pt x="64" y="64"/>
                  </a:lnTo>
                  <a:close/>
                  <a:moveTo>
                    <a:pt x="48" y="80"/>
                  </a:moveTo>
                  <a:cubicBezTo>
                    <a:pt x="64" y="80"/>
                    <a:pt x="64" y="80"/>
                    <a:pt x="64" y="80"/>
                  </a:cubicBezTo>
                  <a:cubicBezTo>
                    <a:pt x="68" y="80"/>
                    <a:pt x="68" y="80"/>
                    <a:pt x="68" y="80"/>
                  </a:cubicBezTo>
                  <a:cubicBezTo>
                    <a:pt x="73" y="88"/>
                    <a:pt x="73" y="88"/>
                    <a:pt x="73" y="88"/>
                  </a:cubicBezTo>
                  <a:cubicBezTo>
                    <a:pt x="15" y="88"/>
                    <a:pt x="15" y="88"/>
                    <a:pt x="15" y="88"/>
                  </a:cubicBezTo>
                  <a:cubicBezTo>
                    <a:pt x="20" y="80"/>
                    <a:pt x="20" y="80"/>
                    <a:pt x="20" y="80"/>
                  </a:cubicBezTo>
                  <a:cubicBezTo>
                    <a:pt x="40" y="80"/>
                    <a:pt x="40" y="80"/>
                    <a:pt x="40" y="80"/>
                  </a:cubicBezTo>
                  <a:lnTo>
                    <a:pt x="48" y="80"/>
                  </a:lnTo>
                  <a:close/>
                  <a:moveTo>
                    <a:pt x="112" y="96"/>
                  </a:moveTo>
                  <a:cubicBezTo>
                    <a:pt x="96" y="96"/>
                    <a:pt x="96" y="96"/>
                    <a:pt x="96" y="96"/>
                  </a:cubicBezTo>
                  <a:cubicBezTo>
                    <a:pt x="96" y="91"/>
                    <a:pt x="100" y="88"/>
                    <a:pt x="104" y="88"/>
                  </a:cubicBezTo>
                  <a:cubicBezTo>
                    <a:pt x="109" y="88"/>
                    <a:pt x="112" y="91"/>
                    <a:pt x="112" y="96"/>
                  </a:cubicBezTo>
                  <a:close/>
                  <a:moveTo>
                    <a:pt x="104" y="20"/>
                  </a:moveTo>
                  <a:cubicBezTo>
                    <a:pt x="96" y="20"/>
                    <a:pt x="96" y="20"/>
                    <a:pt x="96" y="20"/>
                  </a:cubicBezTo>
                  <a:cubicBezTo>
                    <a:pt x="96" y="12"/>
                    <a:pt x="96" y="12"/>
                    <a:pt x="96" y="12"/>
                  </a:cubicBezTo>
                  <a:cubicBezTo>
                    <a:pt x="104" y="12"/>
                    <a:pt x="104" y="12"/>
                    <a:pt x="104" y="12"/>
                  </a:cubicBezTo>
                  <a:lnTo>
                    <a:pt x="104" y="20"/>
                  </a:ln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90000"/>
                </a:lnSpc>
                <a:spcBef>
                  <a:spcPts val="60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80" name="Rectangle 279">
              <a:extLst>
                <a:ext uri="{FF2B5EF4-FFF2-40B4-BE49-F238E27FC236}">
                  <a16:creationId xmlns:a16="http://schemas.microsoft.com/office/drawing/2014/main" id="{D1651C53-A57A-411A-99BC-1814858C3BB2}"/>
                </a:ext>
              </a:extLst>
            </p:cNvPr>
            <p:cNvSpPr/>
            <p:nvPr/>
          </p:nvSpPr>
          <p:spPr>
            <a:xfrm>
              <a:off x="2996274" y="3423223"/>
              <a:ext cx="2256900" cy="1184595"/>
            </a:xfrm>
            <a:prstGeom prst="rect">
              <a:avLst/>
            </a:prstGeom>
          </p:spPr>
          <p:txBody>
            <a:bodyPr wrap="none" anchor="ctr">
              <a:spAutoFit/>
            </a:bodyPr>
            <a:lstStyle/>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OS Platform</a:t>
              </a:r>
            </a:p>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Is Compliant / Domain joined</a:t>
              </a:r>
            </a:p>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Is lost or stolen</a:t>
              </a:r>
            </a:p>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1" i="0" u="none" strike="noStrike" kern="0" cap="none" spc="-52" normalizeH="0" baseline="0" noProof="0">
                  <a:ln>
                    <a:noFill/>
                  </a:ln>
                  <a:solidFill>
                    <a:srgbClr val="0078D7"/>
                  </a:solidFill>
                  <a:effectLst/>
                  <a:uLnTx/>
                  <a:uFillTx/>
                  <a:latin typeface="Segoe UI Semilight"/>
                  <a:ea typeface="Segoe UI" pitchFamily="34" charset="0"/>
                  <a:cs typeface="Segoe UI" pitchFamily="34" charset="0"/>
                </a:rPr>
                <a:t>Device Risk</a:t>
              </a:r>
              <a:endParaRPr kumimoji="0" lang="en-US" sz="1399" b="0" i="1" u="none" strike="noStrike" kern="0" cap="none" spc="-52"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281" name="Freeform 62">
              <a:extLst>
                <a:ext uri="{FF2B5EF4-FFF2-40B4-BE49-F238E27FC236}">
                  <a16:creationId xmlns:a16="http://schemas.microsoft.com/office/drawing/2014/main" id="{E07B9B7F-4F34-4CA6-9415-4BBCB11868CF}"/>
                </a:ext>
              </a:extLst>
            </p:cNvPr>
            <p:cNvSpPr>
              <a:spLocks noChangeAspect="1" noEditPoints="1"/>
            </p:cNvSpPr>
            <p:nvPr/>
          </p:nvSpPr>
          <p:spPr bwMode="black">
            <a:xfrm>
              <a:off x="2707074" y="4321770"/>
              <a:ext cx="303793" cy="27432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353535"/>
            </a:solidFill>
            <a:ln>
              <a:noFill/>
            </a:ln>
          </p:spPr>
          <p:txBody>
            <a:bodyPr vert="horz" wrap="square" lIns="93247" tIns="46623" rIns="93247" bIns="46623"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2" name="Rectangle 281">
              <a:extLst>
                <a:ext uri="{FF2B5EF4-FFF2-40B4-BE49-F238E27FC236}">
                  <a16:creationId xmlns:a16="http://schemas.microsoft.com/office/drawing/2014/main" id="{BD8C3464-C6A0-4EAA-AE4B-E01E0280D759}"/>
                </a:ext>
              </a:extLst>
            </p:cNvPr>
            <p:cNvSpPr/>
            <p:nvPr/>
          </p:nvSpPr>
          <p:spPr>
            <a:xfrm>
              <a:off x="1826388" y="3869578"/>
              <a:ext cx="803604"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Device</a:t>
              </a: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83" name="Oval 282">
              <a:extLst>
                <a:ext uri="{FF2B5EF4-FFF2-40B4-BE49-F238E27FC236}">
                  <a16:creationId xmlns:a16="http://schemas.microsoft.com/office/drawing/2014/main" id="{38DA60E5-5B38-405A-8585-9CE7D98FC675}"/>
                </a:ext>
              </a:extLst>
            </p:cNvPr>
            <p:cNvSpPr/>
            <p:nvPr/>
          </p:nvSpPr>
          <p:spPr bwMode="auto">
            <a:xfrm>
              <a:off x="2795230" y="3532936"/>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Oval 283">
              <a:extLst>
                <a:ext uri="{FF2B5EF4-FFF2-40B4-BE49-F238E27FC236}">
                  <a16:creationId xmlns:a16="http://schemas.microsoft.com/office/drawing/2014/main" id="{C7ECF0FA-DDA8-4BE7-81CB-422150B4043C}"/>
                </a:ext>
              </a:extLst>
            </p:cNvPr>
            <p:cNvSpPr/>
            <p:nvPr/>
          </p:nvSpPr>
          <p:spPr bwMode="auto">
            <a:xfrm>
              <a:off x="2795230" y="3817376"/>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5" name="Oval 284">
              <a:extLst>
                <a:ext uri="{FF2B5EF4-FFF2-40B4-BE49-F238E27FC236}">
                  <a16:creationId xmlns:a16="http://schemas.microsoft.com/office/drawing/2014/main" id="{D97DC011-99BE-41B2-8AAD-85C3DFFF41EB}"/>
                </a:ext>
              </a:extLst>
            </p:cNvPr>
            <p:cNvSpPr/>
            <p:nvPr/>
          </p:nvSpPr>
          <p:spPr bwMode="auto">
            <a:xfrm>
              <a:off x="2795230" y="4101816"/>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24">
              <a:extLst>
                <a:ext uri="{FF2B5EF4-FFF2-40B4-BE49-F238E27FC236}">
                  <a16:creationId xmlns:a16="http://schemas.microsoft.com/office/drawing/2014/main" id="{5743AD8F-AD32-46DD-894F-6F5A9439846B}"/>
                </a:ext>
              </a:extLst>
            </p:cNvPr>
            <p:cNvSpPr>
              <a:spLocks noEditPoints="1"/>
            </p:cNvSpPr>
            <p:nvPr/>
          </p:nvSpPr>
          <p:spPr bwMode="auto">
            <a:xfrm>
              <a:off x="1988806" y="2184648"/>
              <a:ext cx="479425" cy="390525"/>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90000"/>
                </a:lnSpc>
                <a:spcBef>
                  <a:spcPts val="60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87" name="Rectangle 286">
              <a:extLst>
                <a:ext uri="{FF2B5EF4-FFF2-40B4-BE49-F238E27FC236}">
                  <a16:creationId xmlns:a16="http://schemas.microsoft.com/office/drawing/2014/main" id="{7790FE39-55F8-4EB8-AE72-FCA2A26081BE}"/>
                </a:ext>
              </a:extLst>
            </p:cNvPr>
            <p:cNvSpPr/>
            <p:nvPr/>
          </p:nvSpPr>
          <p:spPr>
            <a:xfrm>
              <a:off x="2996274" y="2161565"/>
              <a:ext cx="1575848" cy="892293"/>
            </a:xfrm>
            <a:prstGeom prst="rect">
              <a:avLst/>
            </a:prstGeom>
          </p:spPr>
          <p:txBody>
            <a:bodyPr wrap="none" anchor="ctr">
              <a:spAutoFit/>
            </a:bodyPr>
            <a:lstStyle/>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User identity</a:t>
              </a:r>
            </a:p>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Group membership</a:t>
              </a:r>
            </a:p>
            <a:p>
              <a:pPr marL="0" marR="0" lvl="0" indent="0" defTabSz="950966" eaLnBrk="1" fontAlgn="auto" latinLnBrk="0" hangingPunct="1">
                <a:lnSpc>
                  <a:spcPct val="100000"/>
                </a:lnSpc>
                <a:spcBef>
                  <a:spcPts val="600"/>
                </a:spcBef>
                <a:spcAft>
                  <a:spcPts val="0"/>
                </a:spcAft>
                <a:buClrTx/>
                <a:buSzTx/>
                <a:buFontTx/>
                <a:buNone/>
                <a:tabLst/>
                <a:defRPr/>
              </a:pPr>
              <a:r>
                <a:rPr kumimoji="0" lang="en-US" sz="1399" b="1" i="0" u="none" strike="noStrike" kern="0" cap="none" spc="-52" normalizeH="0" baseline="0" noProof="0">
                  <a:ln>
                    <a:noFill/>
                  </a:ln>
                  <a:solidFill>
                    <a:srgbClr val="0078D7"/>
                  </a:solidFill>
                  <a:effectLst/>
                  <a:uLnTx/>
                  <a:uFillTx/>
                  <a:latin typeface="Segoe UI Semilight"/>
                  <a:ea typeface="Segoe UI" pitchFamily="34" charset="0"/>
                  <a:cs typeface="Segoe UI" pitchFamily="34" charset="0"/>
                </a:rPr>
                <a:t>Session Risk</a:t>
              </a:r>
              <a:endParaRPr kumimoji="0" lang="en-US" sz="1399" b="0" i="1" u="none" strike="noStrike" kern="0" cap="none" spc="-52"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288" name="Freeform 62">
              <a:extLst>
                <a:ext uri="{FF2B5EF4-FFF2-40B4-BE49-F238E27FC236}">
                  <a16:creationId xmlns:a16="http://schemas.microsoft.com/office/drawing/2014/main" id="{37D5425D-7A0F-4BF1-AA8D-AB9BA30BC03B}"/>
                </a:ext>
              </a:extLst>
            </p:cNvPr>
            <p:cNvSpPr>
              <a:spLocks noChangeAspect="1" noEditPoints="1"/>
            </p:cNvSpPr>
            <p:nvPr/>
          </p:nvSpPr>
          <p:spPr bwMode="black">
            <a:xfrm>
              <a:off x="2707074" y="2751856"/>
              <a:ext cx="303793" cy="27432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353535"/>
            </a:solidFill>
            <a:ln>
              <a:noFill/>
            </a:ln>
          </p:spPr>
          <p:txBody>
            <a:bodyPr vert="horz" wrap="square" lIns="93247" tIns="46623" rIns="93247" bIns="46623"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ndParaRPr>
            </a:p>
          </p:txBody>
        </p:sp>
        <p:sp>
          <p:nvSpPr>
            <p:cNvPr id="289" name="Rectangle 288">
              <a:extLst>
                <a:ext uri="{FF2B5EF4-FFF2-40B4-BE49-F238E27FC236}">
                  <a16:creationId xmlns:a16="http://schemas.microsoft.com/office/drawing/2014/main" id="{EB8F4BE8-CD7A-4E89-A2E7-3DA02734F984}"/>
                </a:ext>
              </a:extLst>
            </p:cNvPr>
            <p:cNvSpPr/>
            <p:nvPr/>
          </p:nvSpPr>
          <p:spPr>
            <a:xfrm>
              <a:off x="1926447" y="2537054"/>
              <a:ext cx="603713"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User</a:t>
              </a: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90" name="Oval 289">
              <a:extLst>
                <a:ext uri="{FF2B5EF4-FFF2-40B4-BE49-F238E27FC236}">
                  <a16:creationId xmlns:a16="http://schemas.microsoft.com/office/drawing/2014/main" id="{83A50F1F-C680-4262-85CD-873830619E98}"/>
                </a:ext>
              </a:extLst>
            </p:cNvPr>
            <p:cNvSpPr/>
            <p:nvPr/>
          </p:nvSpPr>
          <p:spPr bwMode="auto">
            <a:xfrm>
              <a:off x="2795230" y="2258113"/>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1" name="Oval 290">
              <a:extLst>
                <a:ext uri="{FF2B5EF4-FFF2-40B4-BE49-F238E27FC236}">
                  <a16:creationId xmlns:a16="http://schemas.microsoft.com/office/drawing/2014/main" id="{370488C3-B40F-46B6-853B-23459D4203AE}"/>
                </a:ext>
              </a:extLst>
            </p:cNvPr>
            <p:cNvSpPr/>
            <p:nvPr/>
          </p:nvSpPr>
          <p:spPr bwMode="auto">
            <a:xfrm>
              <a:off x="2795230" y="2542553"/>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92" name="Group 291">
              <a:extLst>
                <a:ext uri="{FF2B5EF4-FFF2-40B4-BE49-F238E27FC236}">
                  <a16:creationId xmlns:a16="http://schemas.microsoft.com/office/drawing/2014/main" id="{8CCEFE4B-611A-41A2-A080-4B296AC702EE}"/>
                </a:ext>
              </a:extLst>
            </p:cNvPr>
            <p:cNvGrpSpPr/>
            <p:nvPr/>
          </p:nvGrpSpPr>
          <p:grpSpPr>
            <a:xfrm>
              <a:off x="2035105" y="4911396"/>
              <a:ext cx="334255" cy="334255"/>
              <a:chOff x="368699" y="3596110"/>
              <a:chExt cx="334255" cy="334255"/>
            </a:xfrm>
          </p:grpSpPr>
          <p:sp>
            <p:nvSpPr>
              <p:cNvPr id="302" name="Rectangle: Rounded Corners 301">
                <a:extLst>
                  <a:ext uri="{FF2B5EF4-FFF2-40B4-BE49-F238E27FC236}">
                    <a16:creationId xmlns:a16="http://schemas.microsoft.com/office/drawing/2014/main" id="{2C277040-0BAC-4144-88BD-11E961A0D87E}"/>
                  </a:ext>
                </a:extLst>
              </p:cNvPr>
              <p:cNvSpPr/>
              <p:nvPr/>
            </p:nvSpPr>
            <p:spPr bwMode="auto">
              <a:xfrm>
                <a:off x="368699" y="3596110"/>
                <a:ext cx="334255" cy="334255"/>
              </a:xfrm>
              <a:prstGeom prst="round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ts val="600"/>
                  </a:spcBef>
                  <a:spcAft>
                    <a:spcPts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03" name="Group 302">
                <a:extLst>
                  <a:ext uri="{FF2B5EF4-FFF2-40B4-BE49-F238E27FC236}">
                    <a16:creationId xmlns:a16="http://schemas.microsoft.com/office/drawing/2014/main" id="{3B9456F5-C155-4841-B636-038EAA9C5F60}"/>
                  </a:ext>
                </a:extLst>
              </p:cNvPr>
              <p:cNvGrpSpPr/>
              <p:nvPr/>
            </p:nvGrpSpPr>
            <p:grpSpPr>
              <a:xfrm>
                <a:off x="382033" y="3609497"/>
                <a:ext cx="307586" cy="307480"/>
                <a:chOff x="-133735" y="-444418"/>
                <a:chExt cx="9232900" cy="9229725"/>
              </a:xfrm>
              <a:solidFill>
                <a:srgbClr val="353535"/>
              </a:solidFill>
            </p:grpSpPr>
            <p:sp>
              <p:nvSpPr>
                <p:cNvPr id="304" name="Freeform 9">
                  <a:extLst>
                    <a:ext uri="{FF2B5EF4-FFF2-40B4-BE49-F238E27FC236}">
                      <a16:creationId xmlns:a16="http://schemas.microsoft.com/office/drawing/2014/main" id="{5E285B19-CD7C-42D4-AC56-1EA57703D4C1}"/>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90000"/>
                    </a:lnSpc>
                    <a:spcBef>
                      <a:spcPts val="60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sp>
              <p:nvSpPr>
                <p:cNvPr id="305" name="Freeform 10">
                  <a:extLst>
                    <a:ext uri="{FF2B5EF4-FFF2-40B4-BE49-F238E27FC236}">
                      <a16:creationId xmlns:a16="http://schemas.microsoft.com/office/drawing/2014/main" id="{E4D04F25-1C7F-4261-89CE-91962FDE392A}"/>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marL="0" marR="0" lvl="0" indent="0" defTabSz="896328" eaLnBrk="1" fontAlgn="auto" latinLnBrk="0" hangingPunct="1">
                    <a:lnSpc>
                      <a:spcPct val="90000"/>
                    </a:lnSpc>
                    <a:spcBef>
                      <a:spcPts val="60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ndParaRPr>
                </a:p>
              </p:txBody>
            </p:sp>
          </p:grpSp>
        </p:grpSp>
        <p:sp>
          <p:nvSpPr>
            <p:cNvPr id="293" name="Rectangle 292">
              <a:extLst>
                <a:ext uri="{FF2B5EF4-FFF2-40B4-BE49-F238E27FC236}">
                  <a16:creationId xmlns:a16="http://schemas.microsoft.com/office/drawing/2014/main" id="{D687226A-C51E-4DEE-9D68-F7EC42513DC8}"/>
                </a:ext>
              </a:extLst>
            </p:cNvPr>
            <p:cNvSpPr/>
            <p:nvPr/>
          </p:nvSpPr>
          <p:spPr>
            <a:xfrm>
              <a:off x="3018378" y="4897197"/>
              <a:ext cx="1653188" cy="556898"/>
            </a:xfrm>
            <a:prstGeom prst="rect">
              <a:avLst/>
            </a:prstGeom>
          </p:spPr>
          <p:txBody>
            <a:bodyPr wrap="none" anchor="ctr">
              <a:spAutoFit/>
            </a:bodyPr>
            <a:lstStyle/>
            <a:p>
              <a:pPr marL="0" marR="0" lvl="0" indent="0" defTabSz="950966" eaLnBrk="1" fontAlgn="auto" latinLnBrk="0" hangingPunct="1">
                <a:lnSpc>
                  <a:spcPct val="9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cs typeface="Segoe UI" pitchFamily="34" charset="0"/>
                </a:rPr>
                <a:t>Mobile or Cloud app</a:t>
              </a:r>
            </a:p>
            <a:p>
              <a:pPr marL="0" marR="0" lvl="0" indent="0" defTabSz="950966" eaLnBrk="1" fontAlgn="auto" latinLnBrk="0" hangingPunct="1">
                <a:lnSpc>
                  <a:spcPct val="9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cs typeface="Segoe UI" pitchFamily="34" charset="0"/>
                </a:rPr>
                <a:t>Per app policy</a:t>
              </a:r>
            </a:p>
          </p:txBody>
        </p:sp>
        <p:sp>
          <p:nvSpPr>
            <p:cNvPr id="294" name="Rectangle 293">
              <a:extLst>
                <a:ext uri="{FF2B5EF4-FFF2-40B4-BE49-F238E27FC236}">
                  <a16:creationId xmlns:a16="http://schemas.microsoft.com/office/drawing/2014/main" id="{DC6F991F-7353-49D7-9D96-8D8285D61D69}"/>
                </a:ext>
              </a:extLst>
            </p:cNvPr>
            <p:cNvSpPr/>
            <p:nvPr/>
          </p:nvSpPr>
          <p:spPr>
            <a:xfrm>
              <a:off x="1929411" y="5245650"/>
              <a:ext cx="578317"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App</a:t>
              </a: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295" name="Oval 294">
              <a:extLst>
                <a:ext uri="{FF2B5EF4-FFF2-40B4-BE49-F238E27FC236}">
                  <a16:creationId xmlns:a16="http://schemas.microsoft.com/office/drawing/2014/main" id="{E13051F7-11DA-4315-8803-560BD32ECBDB}"/>
                </a:ext>
              </a:extLst>
            </p:cNvPr>
            <p:cNvSpPr/>
            <p:nvPr/>
          </p:nvSpPr>
          <p:spPr bwMode="auto">
            <a:xfrm>
              <a:off x="2795230" y="4964084"/>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Oval 295">
              <a:extLst>
                <a:ext uri="{FF2B5EF4-FFF2-40B4-BE49-F238E27FC236}">
                  <a16:creationId xmlns:a16="http://schemas.microsoft.com/office/drawing/2014/main" id="{92C57171-C1CC-44F1-A5E1-2243C7945B37}"/>
                </a:ext>
              </a:extLst>
            </p:cNvPr>
            <p:cNvSpPr/>
            <p:nvPr/>
          </p:nvSpPr>
          <p:spPr bwMode="auto">
            <a:xfrm>
              <a:off x="2795230" y="5248524"/>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97" name="Group 296">
              <a:extLst>
                <a:ext uri="{FF2B5EF4-FFF2-40B4-BE49-F238E27FC236}">
                  <a16:creationId xmlns:a16="http://schemas.microsoft.com/office/drawing/2014/main" id="{E12A401E-26E1-4EB4-8B70-19E5184F61F4}"/>
                </a:ext>
              </a:extLst>
            </p:cNvPr>
            <p:cNvGrpSpPr/>
            <p:nvPr/>
          </p:nvGrpSpPr>
          <p:grpSpPr>
            <a:xfrm>
              <a:off x="1847001" y="5801470"/>
              <a:ext cx="976239" cy="765683"/>
              <a:chOff x="417230" y="5792761"/>
              <a:chExt cx="976239" cy="765683"/>
            </a:xfrm>
          </p:grpSpPr>
          <p:sp>
            <p:nvSpPr>
              <p:cNvPr id="300" name="Rectangle 299">
                <a:extLst>
                  <a:ext uri="{FF2B5EF4-FFF2-40B4-BE49-F238E27FC236}">
                    <a16:creationId xmlns:a16="http://schemas.microsoft.com/office/drawing/2014/main" id="{9E5DC4E7-5C14-481A-A665-5957979B5C09}"/>
                  </a:ext>
                </a:extLst>
              </p:cNvPr>
              <p:cNvSpPr/>
              <p:nvPr/>
            </p:nvSpPr>
            <p:spPr>
              <a:xfrm>
                <a:off x="417230" y="6188932"/>
                <a:ext cx="976239" cy="369512"/>
              </a:xfrm>
              <a:prstGeom prst="rect">
                <a:avLst/>
              </a:prstGeom>
            </p:spPr>
            <p:txBody>
              <a:bodyPr wrap="none">
                <a:spAutoFit/>
              </a:bodyPr>
              <a:lstStyle/>
              <a:p>
                <a:pPr marL="0" marR="0" lvl="0" indent="0" defTabSz="932681" eaLnBrk="1" fontAlgn="auto" latinLnBrk="0" hangingPunct="1">
                  <a:lnSpc>
                    <a:spcPct val="100000"/>
                  </a:lnSpc>
                  <a:spcBef>
                    <a:spcPts val="0"/>
                  </a:spcBef>
                  <a:spcAft>
                    <a:spcPts val="0"/>
                  </a:spcAft>
                  <a:buClrTx/>
                  <a:buSzTx/>
                  <a:buFontTx/>
                  <a:buNone/>
                  <a:tabLst/>
                  <a:defRPr/>
                </a:pPr>
                <a:r>
                  <a:rPr kumimoji="0" lang="en-US" sz="1801" b="1"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Location</a:t>
                </a:r>
                <a:endParaRPr kumimoji="0" lang="en-US" sz="1801" b="0" i="0" u="none" strike="noStrike" kern="0" cap="none" spc="0" normalizeH="0" baseline="0" noProof="0">
                  <a:ln>
                    <a:noFill/>
                  </a:ln>
                  <a:solidFill>
                    <a:srgbClr val="353535"/>
                  </a:solidFill>
                  <a:effectLst/>
                  <a:uLnTx/>
                  <a:uFillTx/>
                  <a:latin typeface="Segoe UI Semilight"/>
                </a:endParaRPr>
              </a:p>
            </p:txBody>
          </p:sp>
          <p:sp>
            <p:nvSpPr>
              <p:cNvPr id="301" name="Freeform 100">
                <a:extLst>
                  <a:ext uri="{FF2B5EF4-FFF2-40B4-BE49-F238E27FC236}">
                    <a16:creationId xmlns:a16="http://schemas.microsoft.com/office/drawing/2014/main" id="{B9F50EF4-3E21-44DA-8AC1-9E36A07F6E64}"/>
                  </a:ext>
                </a:extLst>
              </p:cNvPr>
              <p:cNvSpPr>
                <a:spLocks noChangeAspect="1" noEditPoints="1"/>
              </p:cNvSpPr>
              <p:nvPr/>
            </p:nvSpPr>
            <p:spPr bwMode="auto">
              <a:xfrm>
                <a:off x="535603" y="5792761"/>
                <a:ext cx="449263" cy="390525"/>
              </a:xfrm>
              <a:custGeom>
                <a:avLst/>
                <a:gdLst>
                  <a:gd name="T0" fmla="*/ 92 w 120"/>
                  <a:gd name="T1" fmla="*/ 40 h 104"/>
                  <a:gd name="T2" fmla="*/ 64 w 120"/>
                  <a:gd name="T3" fmla="*/ 40 h 104"/>
                  <a:gd name="T4" fmla="*/ 64 w 120"/>
                  <a:gd name="T5" fmla="*/ 32 h 104"/>
                  <a:gd name="T6" fmla="*/ 76 w 120"/>
                  <a:gd name="T7" fmla="*/ 16 h 104"/>
                  <a:gd name="T8" fmla="*/ 60 w 120"/>
                  <a:gd name="T9" fmla="*/ 0 h 104"/>
                  <a:gd name="T10" fmla="*/ 44 w 120"/>
                  <a:gd name="T11" fmla="*/ 16 h 104"/>
                  <a:gd name="T12" fmla="*/ 56 w 120"/>
                  <a:gd name="T13" fmla="*/ 32 h 104"/>
                  <a:gd name="T14" fmla="*/ 56 w 120"/>
                  <a:gd name="T15" fmla="*/ 40 h 104"/>
                  <a:gd name="T16" fmla="*/ 28 w 120"/>
                  <a:gd name="T17" fmla="*/ 40 h 104"/>
                  <a:gd name="T18" fmla="*/ 0 w 120"/>
                  <a:gd name="T19" fmla="*/ 104 h 104"/>
                  <a:gd name="T20" fmla="*/ 120 w 120"/>
                  <a:gd name="T21" fmla="*/ 104 h 104"/>
                  <a:gd name="T22" fmla="*/ 92 w 120"/>
                  <a:gd name="T23" fmla="*/ 40 h 104"/>
                  <a:gd name="T24" fmla="*/ 52 w 120"/>
                  <a:gd name="T25" fmla="*/ 16 h 104"/>
                  <a:gd name="T26" fmla="*/ 60 w 120"/>
                  <a:gd name="T27" fmla="*/ 8 h 104"/>
                  <a:gd name="T28" fmla="*/ 68 w 120"/>
                  <a:gd name="T29" fmla="*/ 16 h 104"/>
                  <a:gd name="T30" fmla="*/ 60 w 120"/>
                  <a:gd name="T31" fmla="*/ 24 h 104"/>
                  <a:gd name="T32" fmla="*/ 52 w 120"/>
                  <a:gd name="T33" fmla="*/ 16 h 104"/>
                  <a:gd name="T34" fmla="*/ 79 w 120"/>
                  <a:gd name="T35" fmla="*/ 80 h 104"/>
                  <a:gd name="T36" fmla="*/ 83 w 120"/>
                  <a:gd name="T37" fmla="*/ 96 h 104"/>
                  <a:gd name="T38" fmla="*/ 37 w 120"/>
                  <a:gd name="T39" fmla="*/ 96 h 104"/>
                  <a:gd name="T40" fmla="*/ 41 w 120"/>
                  <a:gd name="T41" fmla="*/ 80 h 104"/>
                  <a:gd name="T42" fmla="*/ 79 w 120"/>
                  <a:gd name="T43" fmla="*/ 80 h 104"/>
                  <a:gd name="T44" fmla="*/ 87 w 120"/>
                  <a:gd name="T45" fmla="*/ 80 h 104"/>
                  <a:gd name="T46" fmla="*/ 101 w 120"/>
                  <a:gd name="T47" fmla="*/ 80 h 104"/>
                  <a:gd name="T48" fmla="*/ 108 w 120"/>
                  <a:gd name="T49" fmla="*/ 96 h 104"/>
                  <a:gd name="T50" fmla="*/ 91 w 120"/>
                  <a:gd name="T51" fmla="*/ 96 h 104"/>
                  <a:gd name="T52" fmla="*/ 87 w 120"/>
                  <a:gd name="T53" fmla="*/ 80 h 104"/>
                  <a:gd name="T54" fmla="*/ 83 w 120"/>
                  <a:gd name="T55" fmla="*/ 64 h 104"/>
                  <a:gd name="T56" fmla="*/ 94 w 120"/>
                  <a:gd name="T57" fmla="*/ 64 h 104"/>
                  <a:gd name="T58" fmla="*/ 97 w 120"/>
                  <a:gd name="T59" fmla="*/ 72 h 104"/>
                  <a:gd name="T60" fmla="*/ 85 w 120"/>
                  <a:gd name="T61" fmla="*/ 72 h 104"/>
                  <a:gd name="T62" fmla="*/ 83 w 120"/>
                  <a:gd name="T63" fmla="*/ 64 h 104"/>
                  <a:gd name="T64" fmla="*/ 90 w 120"/>
                  <a:gd name="T65" fmla="*/ 56 h 104"/>
                  <a:gd name="T66" fmla="*/ 81 w 120"/>
                  <a:gd name="T67" fmla="*/ 56 h 104"/>
                  <a:gd name="T68" fmla="*/ 79 w 120"/>
                  <a:gd name="T69" fmla="*/ 48 h 104"/>
                  <a:gd name="T70" fmla="*/ 87 w 120"/>
                  <a:gd name="T71" fmla="*/ 48 h 104"/>
                  <a:gd name="T72" fmla="*/ 90 w 120"/>
                  <a:gd name="T73" fmla="*/ 56 h 104"/>
                  <a:gd name="T74" fmla="*/ 71 w 120"/>
                  <a:gd name="T75" fmla="*/ 48 h 104"/>
                  <a:gd name="T76" fmla="*/ 77 w 120"/>
                  <a:gd name="T77" fmla="*/ 72 h 104"/>
                  <a:gd name="T78" fmla="*/ 64 w 120"/>
                  <a:gd name="T79" fmla="*/ 72 h 104"/>
                  <a:gd name="T80" fmla="*/ 64 w 120"/>
                  <a:gd name="T81" fmla="*/ 48 h 104"/>
                  <a:gd name="T82" fmla="*/ 71 w 120"/>
                  <a:gd name="T83" fmla="*/ 48 h 104"/>
                  <a:gd name="T84" fmla="*/ 33 w 120"/>
                  <a:gd name="T85" fmla="*/ 48 h 104"/>
                  <a:gd name="T86" fmla="*/ 56 w 120"/>
                  <a:gd name="T87" fmla="*/ 48 h 104"/>
                  <a:gd name="T88" fmla="*/ 56 w 120"/>
                  <a:gd name="T89" fmla="*/ 72 h 104"/>
                  <a:gd name="T90" fmla="*/ 22 w 120"/>
                  <a:gd name="T91" fmla="*/ 72 h 104"/>
                  <a:gd name="T92" fmla="*/ 33 w 120"/>
                  <a:gd name="T93" fmla="*/ 48 h 104"/>
                  <a:gd name="T94" fmla="*/ 19 w 120"/>
                  <a:gd name="T95" fmla="*/ 80 h 104"/>
                  <a:gd name="T96" fmla="*/ 33 w 120"/>
                  <a:gd name="T97" fmla="*/ 80 h 104"/>
                  <a:gd name="T98" fmla="*/ 29 w 120"/>
                  <a:gd name="T99" fmla="*/ 96 h 104"/>
                  <a:gd name="T100" fmla="*/ 12 w 120"/>
                  <a:gd name="T101" fmla="*/ 96 h 104"/>
                  <a:gd name="T102" fmla="*/ 19 w 120"/>
                  <a:gd name="T103" fmla="*/ 8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104">
                    <a:moveTo>
                      <a:pt x="92" y="40"/>
                    </a:moveTo>
                    <a:cubicBezTo>
                      <a:pt x="64" y="40"/>
                      <a:pt x="64" y="40"/>
                      <a:pt x="64" y="40"/>
                    </a:cubicBezTo>
                    <a:cubicBezTo>
                      <a:pt x="64" y="32"/>
                      <a:pt x="64" y="32"/>
                      <a:pt x="64" y="32"/>
                    </a:cubicBezTo>
                    <a:cubicBezTo>
                      <a:pt x="71" y="30"/>
                      <a:pt x="76" y="24"/>
                      <a:pt x="76" y="16"/>
                    </a:cubicBezTo>
                    <a:cubicBezTo>
                      <a:pt x="76" y="8"/>
                      <a:pt x="69" y="0"/>
                      <a:pt x="60" y="0"/>
                    </a:cubicBezTo>
                    <a:cubicBezTo>
                      <a:pt x="51" y="0"/>
                      <a:pt x="44" y="8"/>
                      <a:pt x="44" y="16"/>
                    </a:cubicBezTo>
                    <a:cubicBezTo>
                      <a:pt x="44" y="24"/>
                      <a:pt x="49" y="30"/>
                      <a:pt x="56" y="32"/>
                    </a:cubicBezTo>
                    <a:cubicBezTo>
                      <a:pt x="56" y="40"/>
                      <a:pt x="56" y="40"/>
                      <a:pt x="56" y="40"/>
                    </a:cubicBezTo>
                    <a:cubicBezTo>
                      <a:pt x="28" y="40"/>
                      <a:pt x="28" y="40"/>
                      <a:pt x="28" y="40"/>
                    </a:cubicBezTo>
                    <a:cubicBezTo>
                      <a:pt x="0" y="104"/>
                      <a:pt x="0" y="104"/>
                      <a:pt x="0" y="104"/>
                    </a:cubicBezTo>
                    <a:cubicBezTo>
                      <a:pt x="120" y="104"/>
                      <a:pt x="120" y="104"/>
                      <a:pt x="120" y="104"/>
                    </a:cubicBezTo>
                    <a:lnTo>
                      <a:pt x="92" y="40"/>
                    </a:lnTo>
                    <a:close/>
                    <a:moveTo>
                      <a:pt x="52" y="16"/>
                    </a:moveTo>
                    <a:cubicBezTo>
                      <a:pt x="52" y="12"/>
                      <a:pt x="55" y="8"/>
                      <a:pt x="60" y="8"/>
                    </a:cubicBezTo>
                    <a:cubicBezTo>
                      <a:pt x="64" y="8"/>
                      <a:pt x="68" y="12"/>
                      <a:pt x="68" y="16"/>
                    </a:cubicBezTo>
                    <a:cubicBezTo>
                      <a:pt x="68" y="21"/>
                      <a:pt x="64" y="24"/>
                      <a:pt x="60" y="24"/>
                    </a:cubicBezTo>
                    <a:cubicBezTo>
                      <a:pt x="55" y="24"/>
                      <a:pt x="52" y="21"/>
                      <a:pt x="52" y="16"/>
                    </a:cubicBezTo>
                    <a:close/>
                    <a:moveTo>
                      <a:pt x="79" y="80"/>
                    </a:moveTo>
                    <a:cubicBezTo>
                      <a:pt x="83" y="96"/>
                      <a:pt x="83" y="96"/>
                      <a:pt x="83" y="96"/>
                    </a:cubicBezTo>
                    <a:cubicBezTo>
                      <a:pt x="37" y="96"/>
                      <a:pt x="37" y="96"/>
                      <a:pt x="37" y="96"/>
                    </a:cubicBezTo>
                    <a:cubicBezTo>
                      <a:pt x="41" y="80"/>
                      <a:pt x="41" y="80"/>
                      <a:pt x="41" y="80"/>
                    </a:cubicBezTo>
                    <a:lnTo>
                      <a:pt x="79" y="80"/>
                    </a:lnTo>
                    <a:close/>
                    <a:moveTo>
                      <a:pt x="87" y="80"/>
                    </a:moveTo>
                    <a:cubicBezTo>
                      <a:pt x="101" y="80"/>
                      <a:pt x="101" y="80"/>
                      <a:pt x="101" y="80"/>
                    </a:cubicBezTo>
                    <a:cubicBezTo>
                      <a:pt x="108" y="96"/>
                      <a:pt x="108" y="96"/>
                      <a:pt x="108" y="96"/>
                    </a:cubicBezTo>
                    <a:cubicBezTo>
                      <a:pt x="91" y="96"/>
                      <a:pt x="91" y="96"/>
                      <a:pt x="91" y="96"/>
                    </a:cubicBezTo>
                    <a:lnTo>
                      <a:pt x="87" y="80"/>
                    </a:lnTo>
                    <a:close/>
                    <a:moveTo>
                      <a:pt x="83" y="64"/>
                    </a:moveTo>
                    <a:cubicBezTo>
                      <a:pt x="94" y="64"/>
                      <a:pt x="94" y="64"/>
                      <a:pt x="94" y="64"/>
                    </a:cubicBezTo>
                    <a:cubicBezTo>
                      <a:pt x="97" y="72"/>
                      <a:pt x="97" y="72"/>
                      <a:pt x="97" y="72"/>
                    </a:cubicBezTo>
                    <a:cubicBezTo>
                      <a:pt x="85" y="72"/>
                      <a:pt x="85" y="72"/>
                      <a:pt x="85" y="72"/>
                    </a:cubicBezTo>
                    <a:lnTo>
                      <a:pt x="83" y="64"/>
                    </a:lnTo>
                    <a:close/>
                    <a:moveTo>
                      <a:pt x="90" y="56"/>
                    </a:moveTo>
                    <a:cubicBezTo>
                      <a:pt x="81" y="56"/>
                      <a:pt x="81" y="56"/>
                      <a:pt x="81" y="56"/>
                    </a:cubicBezTo>
                    <a:cubicBezTo>
                      <a:pt x="79" y="48"/>
                      <a:pt x="79" y="48"/>
                      <a:pt x="79" y="48"/>
                    </a:cubicBezTo>
                    <a:cubicBezTo>
                      <a:pt x="87" y="48"/>
                      <a:pt x="87" y="48"/>
                      <a:pt x="87" y="48"/>
                    </a:cubicBezTo>
                    <a:lnTo>
                      <a:pt x="90" y="56"/>
                    </a:lnTo>
                    <a:close/>
                    <a:moveTo>
                      <a:pt x="71" y="48"/>
                    </a:moveTo>
                    <a:cubicBezTo>
                      <a:pt x="77" y="72"/>
                      <a:pt x="77" y="72"/>
                      <a:pt x="77" y="72"/>
                    </a:cubicBezTo>
                    <a:cubicBezTo>
                      <a:pt x="64" y="72"/>
                      <a:pt x="64" y="72"/>
                      <a:pt x="64" y="72"/>
                    </a:cubicBezTo>
                    <a:cubicBezTo>
                      <a:pt x="64" y="48"/>
                      <a:pt x="64" y="48"/>
                      <a:pt x="64" y="48"/>
                    </a:cubicBezTo>
                    <a:lnTo>
                      <a:pt x="71" y="48"/>
                    </a:lnTo>
                    <a:close/>
                    <a:moveTo>
                      <a:pt x="33" y="48"/>
                    </a:moveTo>
                    <a:cubicBezTo>
                      <a:pt x="56" y="48"/>
                      <a:pt x="56" y="48"/>
                      <a:pt x="56" y="48"/>
                    </a:cubicBezTo>
                    <a:cubicBezTo>
                      <a:pt x="56" y="72"/>
                      <a:pt x="56" y="72"/>
                      <a:pt x="56" y="72"/>
                    </a:cubicBezTo>
                    <a:cubicBezTo>
                      <a:pt x="22" y="72"/>
                      <a:pt x="22" y="72"/>
                      <a:pt x="22" y="72"/>
                    </a:cubicBezTo>
                    <a:lnTo>
                      <a:pt x="33" y="48"/>
                    </a:lnTo>
                    <a:close/>
                    <a:moveTo>
                      <a:pt x="19" y="80"/>
                    </a:moveTo>
                    <a:cubicBezTo>
                      <a:pt x="33" y="80"/>
                      <a:pt x="33" y="80"/>
                      <a:pt x="33" y="80"/>
                    </a:cubicBezTo>
                    <a:cubicBezTo>
                      <a:pt x="29" y="96"/>
                      <a:pt x="29" y="96"/>
                      <a:pt x="29" y="96"/>
                    </a:cubicBezTo>
                    <a:cubicBezTo>
                      <a:pt x="12" y="96"/>
                      <a:pt x="12" y="96"/>
                      <a:pt x="12" y="96"/>
                    </a:cubicBezTo>
                    <a:lnTo>
                      <a:pt x="19" y="80"/>
                    </a:ln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90000"/>
                  </a:lnSpc>
                  <a:spcBef>
                    <a:spcPts val="60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grpSp>
        <p:sp>
          <p:nvSpPr>
            <p:cNvPr id="298" name="Rectangle 297">
              <a:extLst>
                <a:ext uri="{FF2B5EF4-FFF2-40B4-BE49-F238E27FC236}">
                  <a16:creationId xmlns:a16="http://schemas.microsoft.com/office/drawing/2014/main" id="{FB886A57-E940-4B59-8718-B1A1DA2D21F6}"/>
                </a:ext>
              </a:extLst>
            </p:cNvPr>
            <p:cNvSpPr/>
            <p:nvPr/>
          </p:nvSpPr>
          <p:spPr>
            <a:xfrm>
              <a:off x="3020971" y="5666139"/>
              <a:ext cx="1401224" cy="556898"/>
            </a:xfrm>
            <a:prstGeom prst="rect">
              <a:avLst/>
            </a:prstGeom>
          </p:spPr>
          <p:txBody>
            <a:bodyPr wrap="none" anchor="ctr">
              <a:spAutoFit/>
            </a:bodyPr>
            <a:lstStyle/>
            <a:p>
              <a:pPr marL="0" marR="0" lvl="0" indent="0" defTabSz="950966" eaLnBrk="1" fontAlgn="auto" latinLnBrk="0" hangingPunct="1">
                <a:lnSpc>
                  <a:spcPct val="9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IP range</a:t>
              </a:r>
            </a:p>
            <a:p>
              <a:pPr marL="0" marR="0" lvl="0" indent="0" defTabSz="950966" eaLnBrk="1" fontAlgn="auto" latinLnBrk="0" hangingPunct="1">
                <a:lnSpc>
                  <a:spcPct val="90000"/>
                </a:lnSpc>
                <a:spcBef>
                  <a:spcPts val="600"/>
                </a:spcBef>
                <a:spcAft>
                  <a:spcPts val="0"/>
                </a:spcAft>
                <a:buClrTx/>
                <a:buSzTx/>
                <a:buFontTx/>
                <a:buNone/>
                <a:tabLst/>
                <a:defRPr/>
              </a:pPr>
              <a:r>
                <a:rPr kumimoji="0" lang="en-US" sz="13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Country / Region</a:t>
              </a:r>
            </a:p>
          </p:txBody>
        </p:sp>
        <p:sp>
          <p:nvSpPr>
            <p:cNvPr id="299" name="Oval 298">
              <a:extLst>
                <a:ext uri="{FF2B5EF4-FFF2-40B4-BE49-F238E27FC236}">
                  <a16:creationId xmlns:a16="http://schemas.microsoft.com/office/drawing/2014/main" id="{054F2047-88A4-471E-BF71-559FB5C9088D}"/>
                </a:ext>
              </a:extLst>
            </p:cNvPr>
            <p:cNvSpPr/>
            <p:nvPr/>
          </p:nvSpPr>
          <p:spPr bwMode="auto">
            <a:xfrm>
              <a:off x="2795230" y="5879611"/>
              <a:ext cx="127480" cy="127480"/>
            </a:xfrm>
            <a:prstGeom prst="ellipse">
              <a:avLst/>
            </a:prstGeom>
            <a:noFill/>
            <a:ln w="19050"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06" name="Rectangle 305">
            <a:extLst>
              <a:ext uri="{FF2B5EF4-FFF2-40B4-BE49-F238E27FC236}">
                <a16:creationId xmlns:a16="http://schemas.microsoft.com/office/drawing/2014/main" id="{30F90AAC-B1D3-4318-9B2C-D4A7762722F4}"/>
              </a:ext>
            </a:extLst>
          </p:cNvPr>
          <p:cNvSpPr/>
          <p:nvPr/>
        </p:nvSpPr>
        <p:spPr bwMode="auto">
          <a:xfrm>
            <a:off x="1681956" y="1878890"/>
            <a:ext cx="18285" cy="4571351"/>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marL="0" marR="0" lvl="0" indent="0" algn="ctr" defTabSz="950966" eaLnBrk="1" fontAlgn="auto" latinLnBrk="0" hangingPunct="1">
              <a:lnSpc>
                <a:spcPct val="90000"/>
              </a:lnSpc>
              <a:spcBef>
                <a:spcPts val="0"/>
              </a:spcBef>
              <a:spcAft>
                <a:spcPts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7" name="TextBox 306">
            <a:extLst>
              <a:ext uri="{FF2B5EF4-FFF2-40B4-BE49-F238E27FC236}">
                <a16:creationId xmlns:a16="http://schemas.microsoft.com/office/drawing/2014/main" id="{CD0EEC03-A2F1-4F71-8918-D589CA5C3952}"/>
              </a:ext>
            </a:extLst>
          </p:cNvPr>
          <p:cNvSpPr txBox="1"/>
          <p:nvPr/>
        </p:nvSpPr>
        <p:spPr>
          <a:xfrm>
            <a:off x="8476100" y="1486603"/>
            <a:ext cx="2803232" cy="374846"/>
          </a:xfrm>
          <a:prstGeom prst="rect">
            <a:avLst/>
          </a:prstGeom>
          <a:noFill/>
        </p:spPr>
        <p:txBody>
          <a:bodyPr wrap="square" rtlCol="0">
            <a:spAutoFit/>
          </a:bodyPr>
          <a:lstStyle/>
          <a:p>
            <a:pPr defTabSz="932681"/>
            <a:r>
              <a:rPr lang="en-US" sz="1836" b="1">
                <a:solidFill>
                  <a:srgbClr val="353535"/>
                </a:solidFill>
                <a:latin typeface="Segoe UI Semilight"/>
              </a:rPr>
              <a:t>Applications</a:t>
            </a:r>
          </a:p>
        </p:txBody>
      </p:sp>
      <p:sp>
        <p:nvSpPr>
          <p:cNvPr id="308" name="TextBox 307">
            <a:extLst>
              <a:ext uri="{FF2B5EF4-FFF2-40B4-BE49-F238E27FC236}">
                <a16:creationId xmlns:a16="http://schemas.microsoft.com/office/drawing/2014/main" id="{E3BF9FFD-675B-4AFA-8928-C1849E1F0182}"/>
              </a:ext>
            </a:extLst>
          </p:cNvPr>
          <p:cNvSpPr txBox="1"/>
          <p:nvPr/>
        </p:nvSpPr>
        <p:spPr>
          <a:xfrm>
            <a:off x="5666531" y="1486604"/>
            <a:ext cx="2041663" cy="374846"/>
          </a:xfrm>
          <a:prstGeom prst="rect">
            <a:avLst/>
          </a:prstGeom>
          <a:noFill/>
        </p:spPr>
        <p:txBody>
          <a:bodyPr wrap="square" rtlCol="0">
            <a:spAutoFit/>
          </a:bodyPr>
          <a:lstStyle/>
          <a:p>
            <a:pPr defTabSz="932681"/>
            <a:r>
              <a:rPr lang="en-US" sz="1836" b="1">
                <a:solidFill>
                  <a:srgbClr val="353535"/>
                </a:solidFill>
                <a:latin typeface="Segoe UI Semilight"/>
              </a:rPr>
              <a:t>Policy Controls</a:t>
            </a:r>
          </a:p>
        </p:txBody>
      </p:sp>
      <p:sp>
        <p:nvSpPr>
          <p:cNvPr id="309" name="TextBox 308">
            <a:extLst>
              <a:ext uri="{FF2B5EF4-FFF2-40B4-BE49-F238E27FC236}">
                <a16:creationId xmlns:a16="http://schemas.microsoft.com/office/drawing/2014/main" id="{40FD7588-2722-4460-A63E-012D0D6AFF07}"/>
              </a:ext>
            </a:extLst>
          </p:cNvPr>
          <p:cNvSpPr txBox="1"/>
          <p:nvPr/>
        </p:nvSpPr>
        <p:spPr>
          <a:xfrm>
            <a:off x="1948392" y="1486603"/>
            <a:ext cx="2803232" cy="374846"/>
          </a:xfrm>
          <a:prstGeom prst="rect">
            <a:avLst/>
          </a:prstGeom>
          <a:noFill/>
        </p:spPr>
        <p:txBody>
          <a:bodyPr wrap="square" rtlCol="0">
            <a:spAutoFit/>
          </a:bodyPr>
          <a:lstStyle/>
          <a:p>
            <a:pPr defTabSz="932681"/>
            <a:r>
              <a:rPr lang="en-US" sz="1836" b="1">
                <a:solidFill>
                  <a:srgbClr val="353535"/>
                </a:solidFill>
                <a:latin typeface="Segoe UI Semilight"/>
              </a:rPr>
              <a:t>Policy Conditions</a:t>
            </a:r>
          </a:p>
        </p:txBody>
      </p:sp>
      <p:sp>
        <p:nvSpPr>
          <p:cNvPr id="310" name="Rectangle 309">
            <a:extLst>
              <a:ext uri="{FF2B5EF4-FFF2-40B4-BE49-F238E27FC236}">
                <a16:creationId xmlns:a16="http://schemas.microsoft.com/office/drawing/2014/main" id="{AA551859-9C58-46F5-93E3-070872B24066}"/>
              </a:ext>
            </a:extLst>
          </p:cNvPr>
          <p:cNvSpPr/>
          <p:nvPr/>
        </p:nvSpPr>
        <p:spPr bwMode="auto">
          <a:xfrm>
            <a:off x="8476099" y="1883293"/>
            <a:ext cx="18649" cy="4566948"/>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marL="0" marR="0" lvl="0" indent="0" algn="ctr" defTabSz="950966" eaLnBrk="1" fontAlgn="auto" latinLnBrk="0" hangingPunct="1">
              <a:lnSpc>
                <a:spcPct val="90000"/>
              </a:lnSpc>
              <a:spcBef>
                <a:spcPts val="0"/>
              </a:spcBef>
              <a:spcAft>
                <a:spcPts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11" name="Group 310">
            <a:extLst>
              <a:ext uri="{FF2B5EF4-FFF2-40B4-BE49-F238E27FC236}">
                <a16:creationId xmlns:a16="http://schemas.microsoft.com/office/drawing/2014/main" id="{E990D496-F666-4CEC-81AE-D6712182C807}"/>
              </a:ext>
            </a:extLst>
          </p:cNvPr>
          <p:cNvGrpSpPr/>
          <p:nvPr/>
        </p:nvGrpSpPr>
        <p:grpSpPr>
          <a:xfrm>
            <a:off x="280951" y="3826041"/>
            <a:ext cx="2295133" cy="914271"/>
            <a:chOff x="376274" y="4015945"/>
            <a:chExt cx="2295458" cy="914400"/>
          </a:xfrm>
        </p:grpSpPr>
        <p:grpSp>
          <p:nvGrpSpPr>
            <p:cNvPr id="312" name="Group 311">
              <a:extLst>
                <a:ext uri="{FF2B5EF4-FFF2-40B4-BE49-F238E27FC236}">
                  <a16:creationId xmlns:a16="http://schemas.microsoft.com/office/drawing/2014/main" id="{82D0B060-FEE5-4B5D-BD0F-B88C919E23E4}"/>
                </a:ext>
              </a:extLst>
            </p:cNvPr>
            <p:cNvGrpSpPr/>
            <p:nvPr/>
          </p:nvGrpSpPr>
          <p:grpSpPr>
            <a:xfrm>
              <a:off x="376274" y="4015945"/>
              <a:ext cx="1137881" cy="914400"/>
              <a:chOff x="314392" y="3909828"/>
              <a:chExt cx="1137881" cy="914400"/>
            </a:xfrm>
          </p:grpSpPr>
          <p:grpSp>
            <p:nvGrpSpPr>
              <p:cNvPr id="315" name="Group 314">
                <a:extLst>
                  <a:ext uri="{FF2B5EF4-FFF2-40B4-BE49-F238E27FC236}">
                    <a16:creationId xmlns:a16="http://schemas.microsoft.com/office/drawing/2014/main" id="{DA09686D-C752-42B2-9E22-C1ED9E3637BD}"/>
                  </a:ext>
                </a:extLst>
              </p:cNvPr>
              <p:cNvGrpSpPr/>
              <p:nvPr/>
            </p:nvGrpSpPr>
            <p:grpSpPr>
              <a:xfrm>
                <a:off x="314392" y="3928813"/>
                <a:ext cx="1137881" cy="889853"/>
                <a:chOff x="94891" y="3902434"/>
                <a:chExt cx="1137881" cy="889853"/>
              </a:xfrm>
            </p:grpSpPr>
            <p:pic>
              <p:nvPicPr>
                <p:cNvPr id="317" name="Picture 316">
                  <a:extLst>
                    <a:ext uri="{FF2B5EF4-FFF2-40B4-BE49-F238E27FC236}">
                      <a16:creationId xmlns:a16="http://schemas.microsoft.com/office/drawing/2014/main" id="{EE632ABC-0961-4FEF-991B-C978A307F631}"/>
                    </a:ext>
                  </a:extLst>
                </p:cNvPr>
                <p:cNvPicPr>
                  <a:picLocks noChangeAspect="1"/>
                </p:cNvPicPr>
                <p:nvPr/>
              </p:nvPicPr>
              <p:blipFill rotWithShape="1">
                <a:blip r:embed="rId4"/>
                <a:srcRect b="22187"/>
                <a:stretch/>
              </p:blipFill>
              <p:spPr>
                <a:xfrm>
                  <a:off x="94891" y="4586820"/>
                  <a:ext cx="785295" cy="205467"/>
                </a:xfrm>
                <a:prstGeom prst="rect">
                  <a:avLst/>
                </a:prstGeom>
              </p:spPr>
            </p:pic>
            <p:pic>
              <p:nvPicPr>
                <p:cNvPr id="318" name="Picture 317">
                  <a:extLst>
                    <a:ext uri="{FF2B5EF4-FFF2-40B4-BE49-F238E27FC236}">
                      <a16:creationId xmlns:a16="http://schemas.microsoft.com/office/drawing/2014/main" id="{6F70C513-6E36-426B-B5DB-576660DE674F}"/>
                    </a:ext>
                  </a:extLst>
                </p:cNvPr>
                <p:cNvPicPr>
                  <a:picLocks noChangeAspect="1"/>
                </p:cNvPicPr>
                <p:nvPr/>
              </p:nvPicPr>
              <p:blipFill>
                <a:blip r:embed="rId5"/>
                <a:stretch>
                  <a:fillRect/>
                </a:stretch>
              </p:blipFill>
              <p:spPr>
                <a:xfrm>
                  <a:off x="94892" y="4313240"/>
                  <a:ext cx="984392" cy="186939"/>
                </a:xfrm>
                <a:prstGeom prst="rect">
                  <a:avLst/>
                </a:prstGeom>
              </p:spPr>
            </p:pic>
            <p:grpSp>
              <p:nvGrpSpPr>
                <p:cNvPr id="319" name="Group 318">
                  <a:extLst>
                    <a:ext uri="{FF2B5EF4-FFF2-40B4-BE49-F238E27FC236}">
                      <a16:creationId xmlns:a16="http://schemas.microsoft.com/office/drawing/2014/main" id="{62AC2F57-7D20-437E-B9B8-B2603CB3B378}"/>
                    </a:ext>
                  </a:extLst>
                </p:cNvPr>
                <p:cNvGrpSpPr/>
                <p:nvPr/>
              </p:nvGrpSpPr>
              <p:grpSpPr>
                <a:xfrm>
                  <a:off x="94892" y="3902434"/>
                  <a:ext cx="1137880" cy="436848"/>
                  <a:chOff x="1542115" y="5153119"/>
                  <a:chExt cx="1137880" cy="436848"/>
                </a:xfrm>
              </p:grpSpPr>
              <p:grpSp>
                <p:nvGrpSpPr>
                  <p:cNvPr id="320" name="Group 319">
                    <a:extLst>
                      <a:ext uri="{FF2B5EF4-FFF2-40B4-BE49-F238E27FC236}">
                        <a16:creationId xmlns:a16="http://schemas.microsoft.com/office/drawing/2014/main" id="{5EF20695-0EE8-4561-8936-91F687F35E6C}"/>
                      </a:ext>
                    </a:extLst>
                  </p:cNvPr>
                  <p:cNvGrpSpPr/>
                  <p:nvPr/>
                </p:nvGrpSpPr>
                <p:grpSpPr>
                  <a:xfrm>
                    <a:off x="1542115" y="5220611"/>
                    <a:ext cx="220183" cy="240287"/>
                    <a:chOff x="759066" y="4266600"/>
                    <a:chExt cx="365125" cy="398463"/>
                  </a:xfrm>
                </p:grpSpPr>
                <p:sp>
                  <p:nvSpPr>
                    <p:cNvPr id="322" name="Freeform 144">
                      <a:extLst>
                        <a:ext uri="{FF2B5EF4-FFF2-40B4-BE49-F238E27FC236}">
                          <a16:creationId xmlns:a16="http://schemas.microsoft.com/office/drawing/2014/main" id="{61131A29-1DBE-4391-8467-F6BB423BED8E}"/>
                        </a:ext>
                      </a:extLst>
                    </p:cNvPr>
                    <p:cNvSpPr>
                      <a:spLocks noEditPoints="1"/>
                    </p:cNvSpPr>
                    <p:nvPr/>
                  </p:nvSpPr>
                  <p:spPr bwMode="auto">
                    <a:xfrm>
                      <a:off x="759066" y="4266600"/>
                      <a:ext cx="365125" cy="398463"/>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D83B01"/>
                    </a:solidFill>
                    <a:ln>
                      <a:noFill/>
                    </a:ln>
                  </p:spPr>
                  <p:txBody>
                    <a:bodyPr vert="horz" wrap="square" lIns="91427" tIns="45714" rIns="91427" bIns="45714" numCol="1" anchor="t" anchorCtr="0" compatLnSpc="1">
                      <a:prstTxWarp prst="textNoShape">
                        <a:avLst/>
                      </a:prstTxWarp>
                    </a:bodyPr>
                    <a:lstStyle/>
                    <a:p>
                      <a:pPr marL="0" marR="0" lvl="0" indent="0" defTabSz="932681"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353535"/>
                        </a:solidFill>
                        <a:effectLst/>
                        <a:uLnTx/>
                        <a:uFillTx/>
                        <a:latin typeface="Segoe UI Semilight"/>
                      </a:endParaRPr>
                    </a:p>
                  </p:txBody>
                </p:sp>
                <p:cxnSp>
                  <p:nvCxnSpPr>
                    <p:cNvPr id="323" name="Straight Connector 322">
                      <a:extLst>
                        <a:ext uri="{FF2B5EF4-FFF2-40B4-BE49-F238E27FC236}">
                          <a16:creationId xmlns:a16="http://schemas.microsoft.com/office/drawing/2014/main" id="{57E6EA0C-2D01-4B01-BD61-A697E041537B}"/>
                        </a:ext>
                      </a:extLst>
                    </p:cNvPr>
                    <p:cNvCxnSpPr>
                      <a:cxnSpLocks/>
                      <a:stCxn id="322" idx="18"/>
                      <a:endCxn id="322" idx="13"/>
                    </p:cNvCxnSpPr>
                    <p:nvPr/>
                  </p:nvCxnSpPr>
                  <p:spPr>
                    <a:xfrm flipH="1">
                      <a:off x="935983" y="4311709"/>
                      <a:ext cx="3764" cy="349595"/>
                    </a:xfrm>
                    <a:prstGeom prst="line">
                      <a:avLst/>
                    </a:prstGeom>
                    <a:noFill/>
                    <a:ln w="19050" cap="flat" cmpd="sng" algn="ctr">
                      <a:solidFill>
                        <a:srgbClr val="D83B01"/>
                      </a:solidFill>
                      <a:prstDash val="solid"/>
                      <a:headEnd type="none"/>
                      <a:tailEnd type="none"/>
                    </a:ln>
                    <a:effectLst/>
                  </p:spPr>
                </p:cxnSp>
                <p:cxnSp>
                  <p:nvCxnSpPr>
                    <p:cNvPr id="324" name="Straight Connector 323">
                      <a:extLst>
                        <a:ext uri="{FF2B5EF4-FFF2-40B4-BE49-F238E27FC236}">
                          <a16:creationId xmlns:a16="http://schemas.microsoft.com/office/drawing/2014/main" id="{42374AED-2E08-4556-8DD1-F52C683F0BFF}"/>
                        </a:ext>
                      </a:extLst>
                    </p:cNvPr>
                    <p:cNvCxnSpPr>
                      <a:cxnSpLocks/>
                      <a:stCxn id="322" idx="12"/>
                      <a:endCxn id="322" idx="21"/>
                    </p:cNvCxnSpPr>
                    <p:nvPr/>
                  </p:nvCxnSpPr>
                  <p:spPr>
                    <a:xfrm>
                      <a:off x="759066" y="4435759"/>
                      <a:ext cx="335012" cy="0"/>
                    </a:xfrm>
                    <a:prstGeom prst="line">
                      <a:avLst/>
                    </a:prstGeom>
                    <a:noFill/>
                    <a:ln w="19050" cap="flat" cmpd="sng" algn="ctr">
                      <a:solidFill>
                        <a:srgbClr val="D83B01"/>
                      </a:solidFill>
                      <a:prstDash val="solid"/>
                      <a:headEnd type="none"/>
                      <a:tailEnd type="none"/>
                    </a:ln>
                    <a:effectLst/>
                  </p:spPr>
                </p:cxnSp>
              </p:grpSp>
              <p:sp>
                <p:nvSpPr>
                  <p:cNvPr id="321" name="Rectangle 320">
                    <a:extLst>
                      <a:ext uri="{FF2B5EF4-FFF2-40B4-BE49-F238E27FC236}">
                        <a16:creationId xmlns:a16="http://schemas.microsoft.com/office/drawing/2014/main" id="{1312E684-E014-43ED-ADEA-ED1AB82E0A1B}"/>
                      </a:ext>
                    </a:extLst>
                  </p:cNvPr>
                  <p:cNvSpPr/>
                  <p:nvPr/>
                </p:nvSpPr>
                <p:spPr>
                  <a:xfrm>
                    <a:off x="1716755" y="5153119"/>
                    <a:ext cx="963240" cy="436848"/>
                  </a:xfrm>
                  <a:prstGeom prst="rect">
                    <a:avLst/>
                  </a:prstGeom>
                </p:spPr>
                <p:txBody>
                  <a:bodyPr wrap="square">
                    <a:spAutoFit/>
                  </a:bodyPr>
                  <a:lstStyle/>
                  <a:p>
                    <a:pPr marL="0" marR="0" lvl="0" indent="0" defTabSz="932681" eaLnBrk="1" fontAlgn="auto" latinLnBrk="0" hangingPunct="1">
                      <a:lnSpc>
                        <a:spcPct val="80000"/>
                      </a:lnSpc>
                      <a:spcBef>
                        <a:spcPts val="0"/>
                      </a:spcBef>
                      <a:spcAft>
                        <a:spcPts val="0"/>
                      </a:spcAft>
                      <a:buClrTx/>
                      <a:buSzTx/>
                      <a:buFontTx/>
                      <a:buNone/>
                      <a:tabLst/>
                      <a:defRPr/>
                    </a:pPr>
                    <a:r>
                      <a:rPr kumimoji="0" lang="en-US" sz="1399" b="0" i="0" u="none" strike="noStrike" kern="0" cap="none" spc="-52" normalizeH="0" baseline="0" noProof="0" dirty="0">
                        <a:ln>
                          <a:noFill/>
                        </a:ln>
                        <a:solidFill>
                          <a:srgbClr val="353535"/>
                        </a:solidFill>
                        <a:effectLst/>
                        <a:uLnTx/>
                        <a:uFillTx/>
                        <a:latin typeface="Segoe UI" panose="020B0502040204020203" pitchFamily="34" charset="0"/>
                        <a:cs typeface="Segoe UI" panose="020B0502040204020203" pitchFamily="34" charset="0"/>
                      </a:rPr>
                      <a:t>Windows</a:t>
                    </a:r>
                    <a:br>
                      <a:rPr kumimoji="0" lang="en-US" sz="1399" b="0" i="0" u="none" strike="noStrike" kern="0" cap="none" spc="-52" normalizeH="0" baseline="0" noProof="0" dirty="0">
                        <a:ln>
                          <a:noFill/>
                        </a:ln>
                        <a:solidFill>
                          <a:srgbClr val="353535"/>
                        </a:solidFill>
                        <a:effectLst/>
                        <a:uLnTx/>
                        <a:uFillTx/>
                        <a:latin typeface="Segoe UI" panose="020B0502040204020203" pitchFamily="34" charset="0"/>
                        <a:cs typeface="Segoe UI" panose="020B0502040204020203" pitchFamily="34" charset="0"/>
                      </a:rPr>
                    </a:br>
                    <a:r>
                      <a:rPr kumimoji="0" lang="en-US" sz="1399" b="0" i="0" u="none" strike="noStrike" kern="0" cap="none" spc="-52" normalizeH="0" baseline="0" noProof="0" dirty="0">
                        <a:ln>
                          <a:noFill/>
                        </a:ln>
                        <a:solidFill>
                          <a:srgbClr val="353535"/>
                        </a:solidFill>
                        <a:effectLst/>
                        <a:uLnTx/>
                        <a:uFillTx/>
                        <a:latin typeface="Segoe UI" panose="020B0502040204020203" pitchFamily="34" charset="0"/>
                        <a:cs typeface="Segoe UI" panose="020B0502040204020203" pitchFamily="34" charset="0"/>
                      </a:rPr>
                      <a:t>Defender </a:t>
                    </a:r>
                  </a:p>
                </p:txBody>
              </p:sp>
            </p:grpSp>
          </p:grpSp>
          <p:cxnSp>
            <p:nvCxnSpPr>
              <p:cNvPr id="316" name="Straight Connector 315">
                <a:extLst>
                  <a:ext uri="{FF2B5EF4-FFF2-40B4-BE49-F238E27FC236}">
                    <a16:creationId xmlns:a16="http://schemas.microsoft.com/office/drawing/2014/main" id="{3A2B322D-A379-4FED-A3CE-862A490D812E}"/>
                  </a:ext>
                </a:extLst>
              </p:cNvPr>
              <p:cNvCxnSpPr>
                <a:cxnSpLocks/>
              </p:cNvCxnSpPr>
              <p:nvPr/>
            </p:nvCxnSpPr>
            <p:spPr>
              <a:xfrm rot="5400000" flipH="1" flipV="1">
                <a:off x="970967" y="4367028"/>
                <a:ext cx="914400" cy="0"/>
              </a:xfrm>
              <a:prstGeom prst="line">
                <a:avLst/>
              </a:prstGeom>
              <a:noFill/>
              <a:ln w="19050" cap="flat" cmpd="sng" algn="ctr">
                <a:solidFill>
                  <a:srgbClr val="D83B01"/>
                </a:solidFill>
                <a:prstDash val="solid"/>
                <a:headEnd type="none" w="med" len="med"/>
                <a:tailEnd type="none" w="sm" len="sm"/>
              </a:ln>
              <a:effectLst/>
            </p:spPr>
          </p:cxnSp>
        </p:grpSp>
        <p:cxnSp>
          <p:nvCxnSpPr>
            <p:cNvPr id="313" name="Straight Connector 312">
              <a:extLst>
                <a:ext uri="{FF2B5EF4-FFF2-40B4-BE49-F238E27FC236}">
                  <a16:creationId xmlns:a16="http://schemas.microsoft.com/office/drawing/2014/main" id="{EEEA7DC4-BB73-4D83-BD42-88E7172A869B}"/>
                </a:ext>
              </a:extLst>
            </p:cNvPr>
            <p:cNvCxnSpPr>
              <a:cxnSpLocks/>
            </p:cNvCxnSpPr>
            <p:nvPr/>
          </p:nvCxnSpPr>
          <p:spPr>
            <a:xfrm>
              <a:off x="1697799" y="4474541"/>
              <a:ext cx="105412" cy="0"/>
            </a:xfrm>
            <a:prstGeom prst="line">
              <a:avLst/>
            </a:prstGeom>
            <a:noFill/>
            <a:ln w="57150" cap="flat" cmpd="sng" algn="ctr">
              <a:solidFill>
                <a:srgbClr val="FFFFFF"/>
              </a:solidFill>
              <a:prstDash val="solid"/>
              <a:headEnd type="none" w="med" len="med"/>
              <a:tailEnd type="none" w="sm" len="sm"/>
            </a:ln>
            <a:effectLst/>
          </p:spPr>
        </p:cxnSp>
        <p:cxnSp>
          <p:nvCxnSpPr>
            <p:cNvPr id="314" name="Straight Connector 313">
              <a:extLst>
                <a:ext uri="{FF2B5EF4-FFF2-40B4-BE49-F238E27FC236}">
                  <a16:creationId xmlns:a16="http://schemas.microsoft.com/office/drawing/2014/main" id="{8C51C658-7040-41F2-9B3E-1A22A6417864}"/>
                </a:ext>
              </a:extLst>
            </p:cNvPr>
            <p:cNvCxnSpPr>
              <a:cxnSpLocks/>
            </p:cNvCxnSpPr>
            <p:nvPr/>
          </p:nvCxnSpPr>
          <p:spPr>
            <a:xfrm>
              <a:off x="1487380" y="4473823"/>
              <a:ext cx="1184352" cy="0"/>
            </a:xfrm>
            <a:prstGeom prst="line">
              <a:avLst/>
            </a:prstGeom>
            <a:noFill/>
            <a:ln w="19050" cap="flat" cmpd="sng" algn="ctr">
              <a:solidFill>
                <a:srgbClr val="D83B01"/>
              </a:solidFill>
              <a:prstDash val="solid"/>
              <a:headEnd type="none" w="med" len="med"/>
              <a:tailEnd type="none" w="sm" len="sm"/>
            </a:ln>
            <a:effectLst/>
          </p:spPr>
        </p:cxnSp>
      </p:grpSp>
      <p:grpSp>
        <p:nvGrpSpPr>
          <p:cNvPr id="325" name="Group 324">
            <a:extLst>
              <a:ext uri="{FF2B5EF4-FFF2-40B4-BE49-F238E27FC236}">
                <a16:creationId xmlns:a16="http://schemas.microsoft.com/office/drawing/2014/main" id="{95AF77AF-676C-4709-8CBA-DB9233F94B25}"/>
              </a:ext>
            </a:extLst>
          </p:cNvPr>
          <p:cNvGrpSpPr/>
          <p:nvPr/>
        </p:nvGrpSpPr>
        <p:grpSpPr>
          <a:xfrm>
            <a:off x="263237" y="2176595"/>
            <a:ext cx="2312847" cy="1076705"/>
            <a:chOff x="358557" y="2366265"/>
            <a:chExt cx="2313175" cy="1076857"/>
          </a:xfrm>
        </p:grpSpPr>
        <p:grpSp>
          <p:nvGrpSpPr>
            <p:cNvPr id="326" name="Group 325">
              <a:extLst>
                <a:ext uri="{FF2B5EF4-FFF2-40B4-BE49-F238E27FC236}">
                  <a16:creationId xmlns:a16="http://schemas.microsoft.com/office/drawing/2014/main" id="{9C99183B-3C46-47AD-BCEB-FBA54293323B}"/>
                </a:ext>
              </a:extLst>
            </p:cNvPr>
            <p:cNvGrpSpPr/>
            <p:nvPr/>
          </p:nvGrpSpPr>
          <p:grpSpPr>
            <a:xfrm>
              <a:off x="358557" y="2366265"/>
              <a:ext cx="1131492" cy="1076857"/>
              <a:chOff x="296675" y="2343208"/>
              <a:chExt cx="1131492" cy="1076857"/>
            </a:xfrm>
          </p:grpSpPr>
          <p:sp>
            <p:nvSpPr>
              <p:cNvPr id="329" name="Rectangle 328">
                <a:extLst>
                  <a:ext uri="{FF2B5EF4-FFF2-40B4-BE49-F238E27FC236}">
                    <a16:creationId xmlns:a16="http://schemas.microsoft.com/office/drawing/2014/main" id="{47E09D7D-3484-4B1C-9E8C-47547999F0E2}"/>
                  </a:ext>
                </a:extLst>
              </p:cNvPr>
              <p:cNvSpPr/>
              <p:nvPr/>
            </p:nvSpPr>
            <p:spPr>
              <a:xfrm>
                <a:off x="296675" y="2343208"/>
                <a:ext cx="1019527" cy="1076857"/>
              </a:xfrm>
              <a:prstGeom prst="rect">
                <a:avLst/>
              </a:prstGeom>
            </p:spPr>
            <p:txBody>
              <a:bodyPr wrap="none">
                <a:spAutoFit/>
              </a:bodyPr>
              <a:lstStyle/>
              <a:p>
                <a:pPr marL="0" marR="0" lvl="0" indent="0" defTabSz="950966" eaLnBrk="1" fontAlgn="auto" latinLnBrk="0" hangingPunct="1">
                  <a:lnSpc>
                    <a:spcPct val="100000"/>
                  </a:lnSpc>
                  <a:spcBef>
                    <a:spcPts val="600"/>
                  </a:spcBef>
                  <a:spcAft>
                    <a:spcPts val="0"/>
                  </a:spcAft>
                  <a:buClrTx/>
                  <a:buSzTx/>
                  <a:buFontTx/>
                  <a:buNone/>
                  <a:tabLst/>
                  <a:defRPr/>
                </a:pP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Azure AD</a:t>
                </a:r>
                <a:b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Identity</a:t>
                </a:r>
                <a:b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Protection</a:t>
                </a:r>
                <a:b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br>
                <a:r>
                  <a:rPr kumimoji="0" lang="en-US" sz="1599" b="0" i="0" u="none" strike="noStrike" kern="0" cap="none" spc="-52" normalizeH="0" baseline="0" noProof="0">
                    <a:ln>
                      <a:noFill/>
                    </a:ln>
                    <a:solidFill>
                      <a:srgbClr val="353535"/>
                    </a:solidFill>
                    <a:effectLst/>
                    <a:uLnTx/>
                    <a:uFillTx/>
                    <a:latin typeface="Segoe UI Semilight"/>
                    <a:ea typeface="Segoe UI" pitchFamily="34" charset="0"/>
                    <a:cs typeface="Segoe UI" pitchFamily="34" charset="0"/>
                  </a:rPr>
                  <a:t>Service</a:t>
                </a:r>
              </a:p>
            </p:txBody>
          </p:sp>
          <p:cxnSp>
            <p:nvCxnSpPr>
              <p:cNvPr id="330" name="Straight Connector 329">
                <a:extLst>
                  <a:ext uri="{FF2B5EF4-FFF2-40B4-BE49-F238E27FC236}">
                    <a16:creationId xmlns:a16="http://schemas.microsoft.com/office/drawing/2014/main" id="{D57DE6EC-2870-4025-AFF1-B298198E07A3}"/>
                  </a:ext>
                </a:extLst>
              </p:cNvPr>
              <p:cNvCxnSpPr>
                <a:cxnSpLocks/>
              </p:cNvCxnSpPr>
              <p:nvPr/>
            </p:nvCxnSpPr>
            <p:spPr>
              <a:xfrm rot="5400000" flipH="1" flipV="1">
                <a:off x="970967" y="2881817"/>
                <a:ext cx="914400" cy="0"/>
              </a:xfrm>
              <a:prstGeom prst="line">
                <a:avLst/>
              </a:prstGeom>
              <a:noFill/>
              <a:ln w="19050" cap="flat" cmpd="sng" algn="ctr">
                <a:solidFill>
                  <a:srgbClr val="D83B01"/>
                </a:solidFill>
                <a:prstDash val="solid"/>
                <a:headEnd type="none" w="med" len="med"/>
                <a:tailEnd type="none" w="sm" len="sm"/>
              </a:ln>
              <a:effectLst/>
            </p:spPr>
          </p:cxnSp>
        </p:grpSp>
        <p:cxnSp>
          <p:nvCxnSpPr>
            <p:cNvPr id="327" name="Straight Connector 326">
              <a:extLst>
                <a:ext uri="{FF2B5EF4-FFF2-40B4-BE49-F238E27FC236}">
                  <a16:creationId xmlns:a16="http://schemas.microsoft.com/office/drawing/2014/main" id="{B984B789-4DC1-49F1-BBE4-650EED55347D}"/>
                </a:ext>
              </a:extLst>
            </p:cNvPr>
            <p:cNvCxnSpPr>
              <a:cxnSpLocks/>
            </p:cNvCxnSpPr>
            <p:nvPr/>
          </p:nvCxnSpPr>
          <p:spPr>
            <a:xfrm>
              <a:off x="1695421" y="2907036"/>
              <a:ext cx="105412" cy="0"/>
            </a:xfrm>
            <a:prstGeom prst="line">
              <a:avLst/>
            </a:prstGeom>
            <a:noFill/>
            <a:ln w="57150" cap="flat" cmpd="sng" algn="ctr">
              <a:solidFill>
                <a:srgbClr val="FFFFFF"/>
              </a:solidFill>
              <a:prstDash val="solid"/>
              <a:headEnd type="none" w="med" len="med"/>
              <a:tailEnd type="none" w="sm" len="sm"/>
            </a:ln>
            <a:effectLst/>
          </p:spPr>
        </p:cxnSp>
        <p:cxnSp>
          <p:nvCxnSpPr>
            <p:cNvPr id="328" name="Straight Connector 327">
              <a:extLst>
                <a:ext uri="{FF2B5EF4-FFF2-40B4-BE49-F238E27FC236}">
                  <a16:creationId xmlns:a16="http://schemas.microsoft.com/office/drawing/2014/main" id="{CE52EDCA-AFC1-4247-982A-77FD37544826}"/>
                </a:ext>
              </a:extLst>
            </p:cNvPr>
            <p:cNvCxnSpPr>
              <a:cxnSpLocks/>
            </p:cNvCxnSpPr>
            <p:nvPr/>
          </p:nvCxnSpPr>
          <p:spPr>
            <a:xfrm>
              <a:off x="1487380" y="2907036"/>
              <a:ext cx="1184352" cy="0"/>
            </a:xfrm>
            <a:prstGeom prst="line">
              <a:avLst/>
            </a:prstGeom>
            <a:noFill/>
            <a:ln w="19050" cap="flat" cmpd="sng" algn="ctr">
              <a:solidFill>
                <a:srgbClr val="D83B01"/>
              </a:solidFill>
              <a:prstDash val="solid"/>
              <a:headEnd type="none" w="med" len="med"/>
              <a:tailEnd type="none" w="sm" len="sm"/>
            </a:ln>
            <a:effectLst/>
          </p:spPr>
        </p:cxnSp>
      </p:grpSp>
      <p:sp>
        <p:nvSpPr>
          <p:cNvPr id="331" name="Rectangle 330">
            <a:extLst>
              <a:ext uri="{FF2B5EF4-FFF2-40B4-BE49-F238E27FC236}">
                <a16:creationId xmlns:a16="http://schemas.microsoft.com/office/drawing/2014/main" id="{BDFC9ACC-D552-4FA8-BB1E-9A211C599804}"/>
              </a:ext>
            </a:extLst>
          </p:cNvPr>
          <p:cNvSpPr/>
          <p:nvPr/>
        </p:nvSpPr>
        <p:spPr bwMode="auto">
          <a:xfrm>
            <a:off x="5414889" y="1878890"/>
            <a:ext cx="18285" cy="4571351"/>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marL="0" marR="0" lvl="0" indent="0" algn="ctr" defTabSz="950966" eaLnBrk="1" fontAlgn="auto" latinLnBrk="0" hangingPunct="1">
              <a:lnSpc>
                <a:spcPct val="90000"/>
              </a:lnSpc>
              <a:spcBef>
                <a:spcPts val="0"/>
              </a:spcBef>
              <a:spcAft>
                <a:spcPts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2" name="Picture 331">
            <a:extLst>
              <a:ext uri="{FF2B5EF4-FFF2-40B4-BE49-F238E27FC236}">
                <a16:creationId xmlns:a16="http://schemas.microsoft.com/office/drawing/2014/main" id="{81AB2E67-14D7-4B4A-811A-86A5150BC73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33453" y="1409898"/>
            <a:ext cx="532208" cy="527809"/>
          </a:xfrm>
          <a:prstGeom prst="rect">
            <a:avLst/>
          </a:prstGeom>
        </p:spPr>
      </p:pic>
      <p:pic>
        <p:nvPicPr>
          <p:cNvPr id="333" name="Picture 332">
            <a:extLst>
              <a:ext uri="{FF2B5EF4-FFF2-40B4-BE49-F238E27FC236}">
                <a16:creationId xmlns:a16="http://schemas.microsoft.com/office/drawing/2014/main" id="{8D9DDEDE-4AF8-42BB-9BCD-53FEA62C4BE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57929" y="1409898"/>
            <a:ext cx="532208" cy="527809"/>
          </a:xfrm>
          <a:prstGeom prst="rect">
            <a:avLst/>
          </a:prstGeom>
        </p:spPr>
      </p:pic>
    </p:spTree>
    <p:extLst>
      <p:ext uri="{BB962C8B-B14F-4D97-AF65-F5344CB8AC3E}">
        <p14:creationId xmlns:p14="http://schemas.microsoft.com/office/powerpoint/2010/main" val="210711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2"/>
                                        </p:tgtEl>
                                        <p:attrNameLst>
                                          <p:attrName>style.visibility</p:attrName>
                                        </p:attrNameLst>
                                      </p:cBhvr>
                                      <p:to>
                                        <p:strVal val="visible"/>
                                      </p:to>
                                    </p:set>
                                    <p:animEffect transition="in" filter="fade">
                                      <p:cBhvr>
                                        <p:cTn id="7" dur="500"/>
                                        <p:tgtEl>
                                          <p:spTgt spid="3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9"/>
                                        </p:tgtEl>
                                        <p:attrNameLst>
                                          <p:attrName>style.visibility</p:attrName>
                                        </p:attrNameLst>
                                      </p:cBhvr>
                                      <p:to>
                                        <p:strVal val="visible"/>
                                      </p:to>
                                    </p:set>
                                    <p:animEffect transition="in" filter="fade">
                                      <p:cBhvr>
                                        <p:cTn id="11" dur="500"/>
                                        <p:tgtEl>
                                          <p:spTgt spid="30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306"/>
                                        </p:tgtEl>
                                        <p:attrNameLst>
                                          <p:attrName>style.visibility</p:attrName>
                                        </p:attrNameLst>
                                      </p:cBhvr>
                                      <p:to>
                                        <p:strVal val="visible"/>
                                      </p:to>
                                    </p:set>
                                    <p:animEffect transition="in" filter="wipe(up)">
                                      <p:cBhvr>
                                        <p:cTn id="14" dur="500"/>
                                        <p:tgtEl>
                                          <p:spTgt spid="306"/>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277"/>
                                        </p:tgtEl>
                                        <p:attrNameLst>
                                          <p:attrName>style.visibility</p:attrName>
                                        </p:attrNameLst>
                                      </p:cBhvr>
                                      <p:to>
                                        <p:strVal val="visible"/>
                                      </p:to>
                                    </p:set>
                                    <p:animEffect transition="in" filter="wipe(left)">
                                      <p:cBhvr>
                                        <p:cTn id="18" dur="500"/>
                                        <p:tgtEl>
                                          <p:spTgt spid="277"/>
                                        </p:tgtEl>
                                      </p:cBhvr>
                                    </p:animEffect>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25"/>
                                        </p:tgtEl>
                                        <p:attrNameLst>
                                          <p:attrName>style.visibility</p:attrName>
                                        </p:attrNameLst>
                                      </p:cBhvr>
                                      <p:to>
                                        <p:strVal val="visible"/>
                                      </p:to>
                                    </p:set>
                                    <p:anim calcmode="lin" valueType="num">
                                      <p:cBhvr additive="base">
                                        <p:cTn id="22" dur="500" fill="hold"/>
                                        <p:tgtEl>
                                          <p:spTgt spid="325"/>
                                        </p:tgtEl>
                                        <p:attrNameLst>
                                          <p:attrName>ppt_x</p:attrName>
                                        </p:attrNameLst>
                                      </p:cBhvr>
                                      <p:tavLst>
                                        <p:tav tm="0">
                                          <p:val>
                                            <p:strVal val="0-#ppt_w/2"/>
                                          </p:val>
                                        </p:tav>
                                        <p:tav tm="100000">
                                          <p:val>
                                            <p:strVal val="#ppt_x"/>
                                          </p:val>
                                        </p:tav>
                                      </p:tavLst>
                                    </p:anim>
                                    <p:anim calcmode="lin" valueType="num">
                                      <p:cBhvr additive="base">
                                        <p:cTn id="23" dur="500" fill="hold"/>
                                        <p:tgtEl>
                                          <p:spTgt spid="325"/>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nodeType="afterEffect">
                                  <p:stCondLst>
                                    <p:cond delay="0"/>
                                  </p:stCondLst>
                                  <p:childTnLst>
                                    <p:set>
                                      <p:cBhvr>
                                        <p:cTn id="26" dur="1" fill="hold">
                                          <p:stCondLst>
                                            <p:cond delay="0"/>
                                          </p:stCondLst>
                                        </p:cTn>
                                        <p:tgtEl>
                                          <p:spTgt spid="311"/>
                                        </p:tgtEl>
                                        <p:attrNameLst>
                                          <p:attrName>style.visibility</p:attrName>
                                        </p:attrNameLst>
                                      </p:cBhvr>
                                      <p:to>
                                        <p:strVal val="visible"/>
                                      </p:to>
                                    </p:set>
                                    <p:anim calcmode="lin" valueType="num">
                                      <p:cBhvr additive="base">
                                        <p:cTn id="27" dur="500" fill="hold"/>
                                        <p:tgtEl>
                                          <p:spTgt spid="311"/>
                                        </p:tgtEl>
                                        <p:attrNameLst>
                                          <p:attrName>ppt_x</p:attrName>
                                        </p:attrNameLst>
                                      </p:cBhvr>
                                      <p:tavLst>
                                        <p:tav tm="0">
                                          <p:val>
                                            <p:strVal val="0-#ppt_w/2"/>
                                          </p:val>
                                        </p:tav>
                                        <p:tav tm="100000">
                                          <p:val>
                                            <p:strVal val="#ppt_x"/>
                                          </p:val>
                                        </p:tav>
                                      </p:tavLst>
                                    </p:anim>
                                    <p:anim calcmode="lin" valueType="num">
                                      <p:cBhvr additive="base">
                                        <p:cTn id="28" dur="500" fill="hold"/>
                                        <p:tgtEl>
                                          <p:spTgt spid="311"/>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250"/>
                                  </p:stCondLst>
                                  <p:childTnLst>
                                    <p:set>
                                      <p:cBhvr>
                                        <p:cTn id="31" dur="1" fill="hold">
                                          <p:stCondLst>
                                            <p:cond delay="0"/>
                                          </p:stCondLst>
                                        </p:cTn>
                                        <p:tgtEl>
                                          <p:spTgt spid="333"/>
                                        </p:tgtEl>
                                        <p:attrNameLst>
                                          <p:attrName>style.visibility</p:attrName>
                                        </p:attrNameLst>
                                      </p:cBhvr>
                                      <p:to>
                                        <p:strVal val="visible"/>
                                      </p:to>
                                    </p:set>
                                    <p:animEffect transition="in" filter="fade">
                                      <p:cBhvr>
                                        <p:cTn id="32" dur="500"/>
                                        <p:tgtEl>
                                          <p:spTgt spid="333"/>
                                        </p:tgtEl>
                                      </p:cBhvr>
                                    </p:animEffect>
                                  </p:childTnLst>
                                </p:cTn>
                              </p:par>
                            </p:childTnLst>
                          </p:cTn>
                        </p:par>
                        <p:par>
                          <p:cTn id="33" fill="hold">
                            <p:stCondLst>
                              <p:cond delay="3250"/>
                            </p:stCondLst>
                            <p:childTnLst>
                              <p:par>
                                <p:cTn id="34" presetID="22" presetClass="entr" presetSubtype="1" fill="hold" grpId="0" nodeType="afterEffect">
                                  <p:stCondLst>
                                    <p:cond delay="0"/>
                                  </p:stCondLst>
                                  <p:childTnLst>
                                    <p:set>
                                      <p:cBhvr>
                                        <p:cTn id="35" dur="1" fill="hold">
                                          <p:stCondLst>
                                            <p:cond delay="0"/>
                                          </p:stCondLst>
                                        </p:cTn>
                                        <p:tgtEl>
                                          <p:spTgt spid="331"/>
                                        </p:tgtEl>
                                        <p:attrNameLst>
                                          <p:attrName>style.visibility</p:attrName>
                                        </p:attrNameLst>
                                      </p:cBhvr>
                                      <p:to>
                                        <p:strVal val="visible"/>
                                      </p:to>
                                    </p:set>
                                    <p:animEffect transition="in" filter="wipe(up)">
                                      <p:cBhvr>
                                        <p:cTn id="36" dur="500"/>
                                        <p:tgtEl>
                                          <p:spTgt spid="33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8"/>
                                        </p:tgtEl>
                                        <p:attrNameLst>
                                          <p:attrName>style.visibility</p:attrName>
                                        </p:attrNameLst>
                                      </p:cBhvr>
                                      <p:to>
                                        <p:strVal val="visible"/>
                                      </p:to>
                                    </p:set>
                                    <p:animEffect transition="in" filter="fade">
                                      <p:cBhvr>
                                        <p:cTn id="39" dur="500"/>
                                        <p:tgtEl>
                                          <p:spTgt spid="308"/>
                                        </p:tgtEl>
                                      </p:cBhvr>
                                    </p:animEffect>
                                  </p:childTnLst>
                                </p:cTn>
                              </p:par>
                            </p:childTnLst>
                          </p:cTn>
                        </p:par>
                        <p:par>
                          <p:cTn id="40" fill="hold">
                            <p:stCondLst>
                              <p:cond delay="3750"/>
                            </p:stCondLst>
                            <p:childTnLst>
                              <p:par>
                                <p:cTn id="41" presetID="22" presetClass="entr" presetSubtype="8" fill="hold" nodeType="afterEffect">
                                  <p:stCondLst>
                                    <p:cond delay="0"/>
                                  </p:stCondLst>
                                  <p:childTnLst>
                                    <p:set>
                                      <p:cBhvr>
                                        <p:cTn id="42" dur="1" fill="hold">
                                          <p:stCondLst>
                                            <p:cond delay="0"/>
                                          </p:stCondLst>
                                        </p:cTn>
                                        <p:tgtEl>
                                          <p:spTgt spid="250"/>
                                        </p:tgtEl>
                                        <p:attrNameLst>
                                          <p:attrName>style.visibility</p:attrName>
                                        </p:attrNameLst>
                                      </p:cBhvr>
                                      <p:to>
                                        <p:strVal val="visible"/>
                                      </p:to>
                                    </p:set>
                                    <p:animEffect transition="in" filter="wipe(left)">
                                      <p:cBhvr>
                                        <p:cTn id="43" dur="500"/>
                                        <p:tgtEl>
                                          <p:spTgt spid="250"/>
                                        </p:tgtEl>
                                      </p:cBhvr>
                                    </p:animEffect>
                                  </p:childTnLst>
                                </p:cTn>
                              </p:par>
                            </p:childTnLst>
                          </p:cTn>
                        </p:par>
                        <p:par>
                          <p:cTn id="44" fill="hold">
                            <p:stCondLst>
                              <p:cond delay="4250"/>
                            </p:stCondLst>
                            <p:childTnLst>
                              <p:par>
                                <p:cTn id="45" presetID="10" presetClass="entr" presetSubtype="0" fill="hold" grpId="0" nodeType="afterEffect">
                                  <p:stCondLst>
                                    <p:cond delay="500"/>
                                  </p:stCondLst>
                                  <p:childTnLst>
                                    <p:set>
                                      <p:cBhvr>
                                        <p:cTn id="46" dur="1" fill="hold">
                                          <p:stCondLst>
                                            <p:cond delay="0"/>
                                          </p:stCondLst>
                                        </p:cTn>
                                        <p:tgtEl>
                                          <p:spTgt spid="307"/>
                                        </p:tgtEl>
                                        <p:attrNameLst>
                                          <p:attrName>style.visibility</p:attrName>
                                        </p:attrNameLst>
                                      </p:cBhvr>
                                      <p:to>
                                        <p:strVal val="visible"/>
                                      </p:to>
                                    </p:set>
                                    <p:animEffect transition="in" filter="fade">
                                      <p:cBhvr>
                                        <p:cTn id="47" dur="500"/>
                                        <p:tgtEl>
                                          <p:spTgt spid="307"/>
                                        </p:tgtEl>
                                      </p:cBhvr>
                                    </p:animEffect>
                                  </p:childTnLst>
                                </p:cTn>
                              </p:par>
                              <p:par>
                                <p:cTn id="48" presetID="22" presetClass="entr" presetSubtype="1" fill="hold" grpId="0" nodeType="withEffect">
                                  <p:stCondLst>
                                    <p:cond delay="500"/>
                                  </p:stCondLst>
                                  <p:childTnLst>
                                    <p:set>
                                      <p:cBhvr>
                                        <p:cTn id="49" dur="1" fill="hold">
                                          <p:stCondLst>
                                            <p:cond delay="0"/>
                                          </p:stCondLst>
                                        </p:cTn>
                                        <p:tgtEl>
                                          <p:spTgt spid="310"/>
                                        </p:tgtEl>
                                        <p:attrNameLst>
                                          <p:attrName>style.visibility</p:attrName>
                                        </p:attrNameLst>
                                      </p:cBhvr>
                                      <p:to>
                                        <p:strVal val="visible"/>
                                      </p:to>
                                    </p:set>
                                    <p:animEffect transition="in" filter="wipe(up)">
                                      <p:cBhvr>
                                        <p:cTn id="50" dur="500"/>
                                        <p:tgtEl>
                                          <p:spTgt spid="310"/>
                                        </p:tgtEl>
                                      </p:cBhvr>
                                    </p:animEffect>
                                  </p:childTnLst>
                                </p:cTn>
                              </p:par>
                            </p:childTnLst>
                          </p:cTn>
                        </p:par>
                        <p:par>
                          <p:cTn id="51" fill="hold">
                            <p:stCondLst>
                              <p:cond delay="5250"/>
                            </p:stCondLst>
                            <p:childTnLst>
                              <p:par>
                                <p:cTn id="52" presetID="22" presetClass="entr" presetSubtype="8" fill="hold" nodeType="afterEffect">
                                  <p:stCondLst>
                                    <p:cond delay="0"/>
                                  </p:stCondLst>
                                  <p:childTnLst>
                                    <p:set>
                                      <p:cBhvr>
                                        <p:cTn id="53" dur="1" fill="hold">
                                          <p:stCondLst>
                                            <p:cond delay="0"/>
                                          </p:stCondLst>
                                        </p:cTn>
                                        <p:tgtEl>
                                          <p:spTgt spid="170"/>
                                        </p:tgtEl>
                                        <p:attrNameLst>
                                          <p:attrName>style.visibility</p:attrName>
                                        </p:attrNameLst>
                                      </p:cBhvr>
                                      <p:to>
                                        <p:strVal val="visible"/>
                                      </p:to>
                                    </p:set>
                                    <p:animEffect transition="in" filter="wipe(left)">
                                      <p:cBhvr>
                                        <p:cTn id="54"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6" grpId="0" animBg="1"/>
      <p:bldP spid="307" grpId="0"/>
      <p:bldP spid="308" grpId="0"/>
      <p:bldP spid="309" grpId="0"/>
      <p:bldP spid="310" grpId="0" animBg="1"/>
      <p:bldP spid="3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AACF65BE-0974-4C66-A4B0-8078CA6F5E51}"/>
              </a:ext>
            </a:extLst>
          </p:cNvPr>
          <p:cNvSpPr>
            <a:spLocks noGrp="1"/>
          </p:cNvSpPr>
          <p:nvPr>
            <p:ph type="title"/>
          </p:nvPr>
        </p:nvSpPr>
        <p:spPr/>
        <p:txBody>
          <a:bodyPr/>
          <a:lstStyle/>
          <a:p>
            <a:r>
              <a:rPr lang="nl-NL" dirty="0"/>
              <a:t>Demo</a:t>
            </a:r>
          </a:p>
        </p:txBody>
      </p:sp>
      <p:sp>
        <p:nvSpPr>
          <p:cNvPr id="4" name="Tijdelijke aanduiding voor dianummer 3">
            <a:extLst>
              <a:ext uri="{FF2B5EF4-FFF2-40B4-BE49-F238E27FC236}">
                <a16:creationId xmlns:a16="http://schemas.microsoft.com/office/drawing/2014/main" id="{EB15068E-6324-471E-A95F-DE21D5C48CE2}"/>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19</a:t>
            </a:fld>
            <a:endParaRPr lang="nl-NL" noProof="0"/>
          </a:p>
        </p:txBody>
      </p:sp>
      <p:pic>
        <p:nvPicPr>
          <p:cNvPr id="10" name="Picture 2" descr="https://images.trvl-media.com/hotels/6000000/5540000/5538400/5538338/5538338_3_z.jpg">
            <a:extLst>
              <a:ext uri="{FF2B5EF4-FFF2-40B4-BE49-F238E27FC236}">
                <a16:creationId xmlns:a16="http://schemas.microsoft.com/office/drawing/2014/main" id="{F593EA67-BA71-487B-9422-F99A583DCB69}"/>
              </a:ext>
            </a:extLst>
          </p:cNvPr>
          <p:cNvPicPr>
            <a:picLocks noGrp="1" noChangeAspect="1" noChangeArrowheads="1"/>
          </p:cNvPicPr>
          <p:nvPr>
            <p:ph type="chart" sz="quarter" idx="4294967295"/>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6924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BA389B-C840-48D5-B1D0-CD5042330291}"/>
              </a:ext>
            </a:extLst>
          </p:cNvPr>
          <p:cNvSpPr>
            <a:spLocks noGrp="1"/>
          </p:cNvSpPr>
          <p:nvPr>
            <p:ph type="title"/>
          </p:nvPr>
        </p:nvSpPr>
        <p:spPr>
          <a:xfrm>
            <a:off x="455881" y="457974"/>
            <a:ext cx="11277063" cy="914162"/>
          </a:xfrm>
        </p:spPr>
        <p:txBody>
          <a:bodyPr/>
          <a:lstStyle/>
          <a:p>
            <a:r>
              <a:rPr lang="nl-NL" dirty="0"/>
              <a:t>Wat is GDPR/AVG?</a:t>
            </a:r>
          </a:p>
        </p:txBody>
      </p:sp>
      <p:grpSp>
        <p:nvGrpSpPr>
          <p:cNvPr id="57" name="COVER">
            <a:extLst>
              <a:ext uri="{FF2B5EF4-FFF2-40B4-BE49-F238E27FC236}">
                <a16:creationId xmlns:a16="http://schemas.microsoft.com/office/drawing/2014/main" id="{3CEA1984-4B02-4D38-A7A7-57CA9BA2FFD9}"/>
              </a:ext>
            </a:extLst>
          </p:cNvPr>
          <p:cNvGrpSpPr/>
          <p:nvPr/>
        </p:nvGrpSpPr>
        <p:grpSpPr>
          <a:xfrm>
            <a:off x="-287" y="5749366"/>
            <a:ext cx="12188825" cy="1107742"/>
            <a:chOff x="-215" y="4312477"/>
            <a:chExt cx="9144000" cy="831023"/>
          </a:xfrm>
        </p:grpSpPr>
        <p:sp>
          <p:nvSpPr>
            <p:cNvPr id="34" name="Rechthoek 33">
              <a:extLst>
                <a:ext uri="{FF2B5EF4-FFF2-40B4-BE49-F238E27FC236}">
                  <a16:creationId xmlns:a16="http://schemas.microsoft.com/office/drawing/2014/main" id="{A0B62498-F16D-4C2A-A6CE-228691E48BCB}"/>
                </a:ext>
              </a:extLst>
            </p:cNvPr>
            <p:cNvSpPr/>
            <p:nvPr/>
          </p:nvSpPr>
          <p:spPr>
            <a:xfrm>
              <a:off x="-215" y="4312477"/>
              <a:ext cx="9144000" cy="831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933"/>
            </a:p>
          </p:txBody>
        </p:sp>
        <p:grpSp>
          <p:nvGrpSpPr>
            <p:cNvPr id="36" name="Group 99">
              <a:extLst>
                <a:ext uri="{FF2B5EF4-FFF2-40B4-BE49-F238E27FC236}">
                  <a16:creationId xmlns:a16="http://schemas.microsoft.com/office/drawing/2014/main" id="{16DC140F-ADDB-4B42-A565-4951B90B1F9E}"/>
                </a:ext>
              </a:extLst>
            </p:cNvPr>
            <p:cNvGrpSpPr/>
            <p:nvPr/>
          </p:nvGrpSpPr>
          <p:grpSpPr bwMode="gray">
            <a:xfrm>
              <a:off x="342002" y="4559215"/>
              <a:ext cx="1109903" cy="241172"/>
              <a:chOff x="2749538" y="2279310"/>
              <a:chExt cx="1479870" cy="321562"/>
            </a:xfrm>
          </p:grpSpPr>
          <p:sp>
            <p:nvSpPr>
              <p:cNvPr id="37" name="Rectangle 100">
                <a:extLst>
                  <a:ext uri="{FF2B5EF4-FFF2-40B4-BE49-F238E27FC236}">
                    <a16:creationId xmlns:a16="http://schemas.microsoft.com/office/drawing/2014/main" id="{F47B9526-A350-4534-A947-71F222E84D7C}"/>
                  </a:ext>
                </a:extLst>
              </p:cNvPr>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38" name="Rectangle 101">
                <a:extLst>
                  <a:ext uri="{FF2B5EF4-FFF2-40B4-BE49-F238E27FC236}">
                    <a16:creationId xmlns:a16="http://schemas.microsoft.com/office/drawing/2014/main" id="{9A2E6B6E-D0C9-4AD7-BBF8-9851CF64F267}"/>
                  </a:ext>
                </a:extLst>
              </p:cNvPr>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39" name="Group 21">
                <a:extLst>
                  <a:ext uri="{FF2B5EF4-FFF2-40B4-BE49-F238E27FC236}">
                    <a16:creationId xmlns:a16="http://schemas.microsoft.com/office/drawing/2014/main" id="{B074BB82-2735-4A0A-A908-CEC374D93417}"/>
                  </a:ext>
                </a:extLst>
              </p:cNvPr>
              <p:cNvGrpSpPr/>
              <p:nvPr/>
            </p:nvGrpSpPr>
            <p:grpSpPr bwMode="gray">
              <a:xfrm>
                <a:off x="3373209" y="2357164"/>
                <a:ext cx="726277" cy="153325"/>
                <a:chOff x="-1490663" y="3248025"/>
                <a:chExt cx="2857501" cy="603250"/>
              </a:xfrm>
            </p:grpSpPr>
            <p:sp>
              <p:nvSpPr>
                <p:cNvPr id="41" name="Freeform 104">
                  <a:extLst>
                    <a:ext uri="{FF2B5EF4-FFF2-40B4-BE49-F238E27FC236}">
                      <a16:creationId xmlns:a16="http://schemas.microsoft.com/office/drawing/2014/main" id="{64D94BB6-96A5-4415-9121-0AB97AA6CC31}"/>
                    </a:ext>
                  </a:extLst>
                </p:cNvPr>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2" name="Freeform 105">
                  <a:extLst>
                    <a:ext uri="{FF2B5EF4-FFF2-40B4-BE49-F238E27FC236}">
                      <a16:creationId xmlns:a16="http://schemas.microsoft.com/office/drawing/2014/main" id="{4CA96623-7BC8-4062-A587-20DDD4431504}"/>
                    </a:ext>
                  </a:extLst>
                </p:cNvPr>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3" name="Freeform 106">
                  <a:extLst>
                    <a:ext uri="{FF2B5EF4-FFF2-40B4-BE49-F238E27FC236}">
                      <a16:creationId xmlns:a16="http://schemas.microsoft.com/office/drawing/2014/main" id="{FE011973-CC95-459C-A28C-547005E724B4}"/>
                    </a:ext>
                  </a:extLst>
                </p:cNvPr>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4" name="Freeform 107">
                  <a:extLst>
                    <a:ext uri="{FF2B5EF4-FFF2-40B4-BE49-F238E27FC236}">
                      <a16:creationId xmlns:a16="http://schemas.microsoft.com/office/drawing/2014/main" id="{05B37B8A-A70D-411D-8FCB-CD56CDF0003A}"/>
                    </a:ext>
                  </a:extLst>
                </p:cNvPr>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5" name="Freeform 108">
                  <a:extLst>
                    <a:ext uri="{FF2B5EF4-FFF2-40B4-BE49-F238E27FC236}">
                      <a16:creationId xmlns:a16="http://schemas.microsoft.com/office/drawing/2014/main" id="{2CED0D95-9CBE-4C23-8758-9604F9E602AC}"/>
                    </a:ext>
                  </a:extLst>
                </p:cNvPr>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6" name="Freeform 109">
                  <a:extLst>
                    <a:ext uri="{FF2B5EF4-FFF2-40B4-BE49-F238E27FC236}">
                      <a16:creationId xmlns:a16="http://schemas.microsoft.com/office/drawing/2014/main" id="{010BAFB4-9E8C-4AA4-AA4C-DFF431B2830F}"/>
                    </a:ext>
                  </a:extLst>
                </p:cNvPr>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sp>
            <p:nvSpPr>
              <p:cNvPr id="40" name="Freeform 13">
                <a:extLst>
                  <a:ext uri="{FF2B5EF4-FFF2-40B4-BE49-F238E27FC236}">
                    <a16:creationId xmlns:a16="http://schemas.microsoft.com/office/drawing/2014/main" id="{9D27FB76-A833-48B3-91B0-35972F2E410D}"/>
                  </a:ext>
                </a:extLst>
              </p:cNvPr>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grpSp>
      <p:sp>
        <p:nvSpPr>
          <p:cNvPr id="47" name="1a">
            <a:extLst>
              <a:ext uri="{FF2B5EF4-FFF2-40B4-BE49-F238E27FC236}">
                <a16:creationId xmlns:a16="http://schemas.microsoft.com/office/drawing/2014/main" id="{0FEA461B-7828-4964-8D6B-38788BE0AE19}"/>
              </a:ext>
            </a:extLst>
          </p:cNvPr>
          <p:cNvSpPr/>
          <p:nvPr/>
        </p:nvSpPr>
        <p:spPr>
          <a:xfrm>
            <a:off x="1338506" y="3471955"/>
            <a:ext cx="343083" cy="34308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b="1" dirty="0">
              <a:solidFill>
                <a:schemeClr val="accent2"/>
              </a:solidFill>
            </a:endParaRPr>
          </a:p>
        </p:txBody>
      </p:sp>
      <p:sp>
        <p:nvSpPr>
          <p:cNvPr id="28" name="Tijdelijke aanduiding voor tekst 4">
            <a:extLst>
              <a:ext uri="{FF2B5EF4-FFF2-40B4-BE49-F238E27FC236}">
                <a16:creationId xmlns:a16="http://schemas.microsoft.com/office/drawing/2014/main" id="{6B5BFAF9-CD4E-4FED-8407-64280ABB50FF}"/>
              </a:ext>
            </a:extLst>
          </p:cNvPr>
          <p:cNvSpPr>
            <a:spLocks noGrp="1"/>
          </p:cNvSpPr>
          <p:nvPr>
            <p:ph type="body" sz="quarter" idx="12"/>
          </p:nvPr>
        </p:nvSpPr>
        <p:spPr>
          <a:xfrm>
            <a:off x="687614" y="1689153"/>
            <a:ext cx="11134206" cy="3697607"/>
          </a:xfrm>
        </p:spPr>
        <p:txBody>
          <a:bodyPr/>
          <a:lstStyle/>
          <a:p>
            <a:pPr>
              <a:buFont typeface="Arial" panose="020B0604020202020204" pitchFamily="34" charset="0"/>
              <a:buChar char="•"/>
            </a:pPr>
            <a:r>
              <a:rPr lang="nl-NL" dirty="0"/>
              <a:t>Nieuwe Europese </a:t>
            </a:r>
            <a:r>
              <a:rPr lang="nl-NL" strike="sngStrike" dirty="0"/>
              <a:t>wet </a:t>
            </a:r>
            <a:r>
              <a:rPr lang="nl-NL" dirty="0"/>
              <a:t>verordening bescherming persoonsgegevens</a:t>
            </a:r>
          </a:p>
          <a:p>
            <a:pPr>
              <a:buFont typeface="Arial" panose="020B0604020202020204" pitchFamily="34" charset="0"/>
              <a:buChar char="•"/>
            </a:pPr>
            <a:r>
              <a:rPr lang="nl-NL" dirty="0"/>
              <a:t>Impact op alle bedrijfsprocessen en alle informatiesystemen binnen alle organisaties</a:t>
            </a:r>
          </a:p>
          <a:p>
            <a:pPr>
              <a:buFont typeface="Arial" panose="020B0604020202020204" pitchFamily="34" charset="0"/>
              <a:buChar char="•"/>
            </a:pPr>
            <a:r>
              <a:rPr lang="nl-NL" dirty="0"/>
              <a:t>Zoekt de balans tussen vrij verkeer van gegevens en privacy</a:t>
            </a:r>
          </a:p>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p:txBody>
      </p:sp>
      <p:grpSp>
        <p:nvGrpSpPr>
          <p:cNvPr id="3" name="Group 2">
            <a:extLst>
              <a:ext uri="{FF2B5EF4-FFF2-40B4-BE49-F238E27FC236}">
                <a16:creationId xmlns:a16="http://schemas.microsoft.com/office/drawing/2014/main" id="{D564F028-FF3C-4E0F-8793-F724B4D0BF98}"/>
              </a:ext>
            </a:extLst>
          </p:cNvPr>
          <p:cNvGrpSpPr/>
          <p:nvPr/>
        </p:nvGrpSpPr>
        <p:grpSpPr>
          <a:xfrm>
            <a:off x="2431571" y="2198751"/>
            <a:ext cx="7325109" cy="2546407"/>
            <a:chOff x="1512930" y="3027810"/>
            <a:chExt cx="5495263" cy="1910303"/>
          </a:xfrm>
        </p:grpSpPr>
        <p:sp>
          <p:nvSpPr>
            <p:cNvPr id="19" name="TextBox 18">
              <a:extLst>
                <a:ext uri="{FF2B5EF4-FFF2-40B4-BE49-F238E27FC236}">
                  <a16:creationId xmlns:a16="http://schemas.microsoft.com/office/drawing/2014/main" id="{119FAD8E-A809-4ACC-891A-7561CB332C42}"/>
                </a:ext>
              </a:extLst>
            </p:cNvPr>
            <p:cNvSpPr txBox="1"/>
            <p:nvPr/>
          </p:nvSpPr>
          <p:spPr>
            <a:xfrm>
              <a:off x="1512930" y="3027810"/>
              <a:ext cx="5495263" cy="238493"/>
            </a:xfrm>
            <a:prstGeom prst="rect">
              <a:avLst/>
            </a:prstGeom>
            <a:noFill/>
          </p:spPr>
          <p:txBody>
            <a:bodyPr wrap="square" rtlCol="0">
              <a:spAutoFit/>
            </a:bodyPr>
            <a:lstStyle/>
            <a:p>
              <a:pPr algn="ctr"/>
              <a:r>
                <a:rPr lang="en-US" sz="1466" dirty="0">
                  <a:solidFill>
                    <a:schemeClr val="accent4"/>
                  </a:solidFill>
                </a:rPr>
                <a:t>Key concepts GDPR </a:t>
              </a:r>
            </a:p>
          </p:txBody>
        </p:sp>
        <p:sp>
          <p:nvSpPr>
            <p:cNvPr id="20" name="Rectangle 19">
              <a:extLst>
                <a:ext uri="{FF2B5EF4-FFF2-40B4-BE49-F238E27FC236}">
                  <a16:creationId xmlns:a16="http://schemas.microsoft.com/office/drawing/2014/main" id="{05190152-E8A0-4CBC-B877-DFCF1B121AD1}"/>
                </a:ext>
              </a:extLst>
            </p:cNvPr>
            <p:cNvSpPr/>
            <p:nvPr/>
          </p:nvSpPr>
          <p:spPr bwMode="auto">
            <a:xfrm>
              <a:off x="1693160" y="3304809"/>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Consent</a:t>
              </a:r>
              <a:endParaRPr lang="en-US" sz="1333" b="1" dirty="0">
                <a:solidFill>
                  <a:schemeClr val="bg2">
                    <a:lumMod val="50000"/>
                  </a:schemeClr>
                </a:solidFill>
                <a:cs typeface="Arial" charset="0"/>
              </a:endParaRPr>
            </a:p>
          </p:txBody>
        </p:sp>
        <p:sp>
          <p:nvSpPr>
            <p:cNvPr id="21" name="Rectangle 20">
              <a:extLst>
                <a:ext uri="{FF2B5EF4-FFF2-40B4-BE49-F238E27FC236}">
                  <a16:creationId xmlns:a16="http://schemas.microsoft.com/office/drawing/2014/main" id="{607ADA18-A1CF-4B0F-A219-ED00A7D761BD}"/>
                </a:ext>
              </a:extLst>
            </p:cNvPr>
            <p:cNvSpPr/>
            <p:nvPr/>
          </p:nvSpPr>
          <p:spPr bwMode="auto">
            <a:xfrm>
              <a:off x="1693160" y="3652316"/>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Processing limitation</a:t>
              </a:r>
              <a:endParaRPr lang="en-US" sz="1333" b="1" dirty="0">
                <a:solidFill>
                  <a:schemeClr val="bg2">
                    <a:lumMod val="50000"/>
                  </a:schemeClr>
                </a:solidFill>
                <a:cs typeface="Arial" charset="0"/>
              </a:endParaRPr>
            </a:p>
          </p:txBody>
        </p:sp>
        <p:sp>
          <p:nvSpPr>
            <p:cNvPr id="22" name="Rectangle 21">
              <a:extLst>
                <a:ext uri="{FF2B5EF4-FFF2-40B4-BE49-F238E27FC236}">
                  <a16:creationId xmlns:a16="http://schemas.microsoft.com/office/drawing/2014/main" id="{6AD65748-1FEA-4393-B5D1-AA15973BB362}"/>
                </a:ext>
              </a:extLst>
            </p:cNvPr>
            <p:cNvSpPr/>
            <p:nvPr/>
          </p:nvSpPr>
          <p:spPr bwMode="auto">
            <a:xfrm>
              <a:off x="1693160" y="3994466"/>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Right to be forgotten</a:t>
              </a:r>
              <a:endParaRPr lang="en-US" sz="1333" b="1" dirty="0">
                <a:solidFill>
                  <a:schemeClr val="bg2">
                    <a:lumMod val="50000"/>
                  </a:schemeClr>
                </a:solidFill>
                <a:cs typeface="Arial" charset="0"/>
              </a:endParaRPr>
            </a:p>
          </p:txBody>
        </p:sp>
        <p:sp>
          <p:nvSpPr>
            <p:cNvPr id="23" name="Rectangle 22">
              <a:extLst>
                <a:ext uri="{FF2B5EF4-FFF2-40B4-BE49-F238E27FC236}">
                  <a16:creationId xmlns:a16="http://schemas.microsoft.com/office/drawing/2014/main" id="{E0BCAD25-6C98-400A-A1A0-DA81D0FF9263}"/>
                </a:ext>
              </a:extLst>
            </p:cNvPr>
            <p:cNvSpPr/>
            <p:nvPr/>
          </p:nvSpPr>
          <p:spPr bwMode="auto">
            <a:xfrm>
              <a:off x="1693160" y="4336618"/>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Protection of minors</a:t>
              </a:r>
              <a:endParaRPr lang="en-US" sz="1333" b="1" dirty="0">
                <a:solidFill>
                  <a:schemeClr val="bg2">
                    <a:lumMod val="50000"/>
                  </a:schemeClr>
                </a:solidFill>
                <a:cs typeface="Arial" charset="0"/>
              </a:endParaRPr>
            </a:p>
          </p:txBody>
        </p:sp>
        <p:sp>
          <p:nvSpPr>
            <p:cNvPr id="24" name="Rectangle 23">
              <a:extLst>
                <a:ext uri="{FF2B5EF4-FFF2-40B4-BE49-F238E27FC236}">
                  <a16:creationId xmlns:a16="http://schemas.microsoft.com/office/drawing/2014/main" id="{9372D1CC-2CC9-4241-B48F-DD25DE5AC73E}"/>
                </a:ext>
              </a:extLst>
            </p:cNvPr>
            <p:cNvSpPr/>
            <p:nvPr/>
          </p:nvSpPr>
          <p:spPr bwMode="auto">
            <a:xfrm>
              <a:off x="4279627" y="3304809"/>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Right to data portability</a:t>
              </a:r>
              <a:endParaRPr lang="en-US" sz="1333" b="1" dirty="0">
                <a:solidFill>
                  <a:schemeClr val="bg2">
                    <a:lumMod val="50000"/>
                  </a:schemeClr>
                </a:solidFill>
                <a:cs typeface="Arial" charset="0"/>
              </a:endParaRPr>
            </a:p>
          </p:txBody>
        </p:sp>
        <p:sp>
          <p:nvSpPr>
            <p:cNvPr id="25" name="Rectangle 24">
              <a:extLst>
                <a:ext uri="{FF2B5EF4-FFF2-40B4-BE49-F238E27FC236}">
                  <a16:creationId xmlns:a16="http://schemas.microsoft.com/office/drawing/2014/main" id="{C99F67BB-1195-410D-B853-DB9EF94EEACA}"/>
                </a:ext>
              </a:extLst>
            </p:cNvPr>
            <p:cNvSpPr/>
            <p:nvPr/>
          </p:nvSpPr>
          <p:spPr bwMode="auto">
            <a:xfrm>
              <a:off x="4279627" y="3652316"/>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Complaint management</a:t>
              </a:r>
              <a:endParaRPr lang="en-US" sz="1333" b="1" dirty="0">
                <a:solidFill>
                  <a:schemeClr val="bg2">
                    <a:lumMod val="50000"/>
                  </a:schemeClr>
                </a:solidFill>
                <a:cs typeface="Arial" charset="0"/>
              </a:endParaRPr>
            </a:p>
          </p:txBody>
        </p:sp>
        <p:sp>
          <p:nvSpPr>
            <p:cNvPr id="26" name="Rectangle 25">
              <a:extLst>
                <a:ext uri="{FF2B5EF4-FFF2-40B4-BE49-F238E27FC236}">
                  <a16:creationId xmlns:a16="http://schemas.microsoft.com/office/drawing/2014/main" id="{DAE4916C-C069-4230-9BE7-5FAEDC989E64}"/>
                </a:ext>
              </a:extLst>
            </p:cNvPr>
            <p:cNvSpPr/>
            <p:nvPr/>
          </p:nvSpPr>
          <p:spPr bwMode="auto">
            <a:xfrm>
              <a:off x="4279627" y="3994466"/>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Right to </a:t>
              </a:r>
              <a:r>
                <a:rPr lang="en-US" sz="1333" dirty="0" err="1">
                  <a:solidFill>
                    <a:schemeClr val="bg2">
                      <a:lumMod val="50000"/>
                    </a:schemeClr>
                  </a:solidFill>
                  <a:cs typeface="Arial" charset="0"/>
                </a:rPr>
                <a:t>compens</a:t>
              </a:r>
              <a:r>
                <a:rPr lang="en-US" sz="1333" dirty="0">
                  <a:solidFill>
                    <a:schemeClr val="bg2">
                      <a:lumMod val="50000"/>
                    </a:schemeClr>
                  </a:solidFill>
                  <a:cs typeface="Arial" charset="0"/>
                </a:rPr>
                <a:t>. &amp; liability</a:t>
              </a:r>
              <a:endParaRPr lang="en-US" sz="1333" b="1" dirty="0">
                <a:solidFill>
                  <a:schemeClr val="bg2">
                    <a:lumMod val="50000"/>
                  </a:schemeClr>
                </a:solidFill>
                <a:cs typeface="Arial" charset="0"/>
              </a:endParaRPr>
            </a:p>
          </p:txBody>
        </p:sp>
        <p:sp>
          <p:nvSpPr>
            <p:cNvPr id="27" name="Rectangle 26">
              <a:extLst>
                <a:ext uri="{FF2B5EF4-FFF2-40B4-BE49-F238E27FC236}">
                  <a16:creationId xmlns:a16="http://schemas.microsoft.com/office/drawing/2014/main" id="{2934210A-1D77-4757-8855-F9EF5D188992}"/>
                </a:ext>
              </a:extLst>
            </p:cNvPr>
            <p:cNvSpPr/>
            <p:nvPr/>
          </p:nvSpPr>
          <p:spPr bwMode="auto">
            <a:xfrm>
              <a:off x="4279627" y="4336618"/>
              <a:ext cx="2490205" cy="288000"/>
            </a:xfrm>
            <a:prstGeom prst="rect">
              <a:avLst/>
            </a:prstGeom>
            <a:solidFill>
              <a:schemeClr val="bg1">
                <a:lumMod val="95000"/>
              </a:schemeClr>
            </a:solidFill>
            <a:ln w="6350" cap="flat" cmpd="sng" algn="ctr">
              <a:solidFill>
                <a:schemeClr val="tx1">
                  <a:lumMod val="25000"/>
                  <a:lumOff val="75000"/>
                </a:schemeClr>
              </a:solidFill>
              <a:prstDash val="solid"/>
              <a:round/>
              <a:headEnd type="none" w="med" len="med"/>
              <a:tailEnd type="none" w="med" len="med"/>
            </a:ln>
            <a:effectLst/>
          </p:spPr>
          <p:txBody>
            <a:bodyPr vert="horz" wrap="square" lIns="47988" tIns="143963" rIns="47988" bIns="60944"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333" dirty="0">
                  <a:solidFill>
                    <a:schemeClr val="bg2">
                      <a:lumMod val="50000"/>
                    </a:schemeClr>
                  </a:solidFill>
                  <a:cs typeface="Arial" charset="0"/>
                  <a:sym typeface="Wingdings" panose="05000000000000000000" pitchFamily="2" charset="2"/>
                </a:rPr>
                <a:t> </a:t>
              </a:r>
              <a:r>
                <a:rPr lang="en-US" sz="1333" dirty="0">
                  <a:solidFill>
                    <a:schemeClr val="bg2">
                      <a:lumMod val="50000"/>
                    </a:schemeClr>
                  </a:solidFill>
                  <a:cs typeface="Arial" charset="0"/>
                </a:rPr>
                <a:t>Profiling</a:t>
              </a:r>
              <a:endParaRPr lang="en-US" sz="1333" b="1" dirty="0">
                <a:solidFill>
                  <a:schemeClr val="bg2">
                    <a:lumMod val="50000"/>
                  </a:schemeClr>
                </a:solidFill>
                <a:cs typeface="Arial" charset="0"/>
              </a:endParaRPr>
            </a:p>
          </p:txBody>
        </p:sp>
        <p:grpSp>
          <p:nvGrpSpPr>
            <p:cNvPr id="29" name="Group 28">
              <a:extLst>
                <a:ext uri="{FF2B5EF4-FFF2-40B4-BE49-F238E27FC236}">
                  <a16:creationId xmlns:a16="http://schemas.microsoft.com/office/drawing/2014/main" id="{F5B8B23C-A9E2-4E88-937D-28FBE26905D5}"/>
                </a:ext>
              </a:extLst>
            </p:cNvPr>
            <p:cNvGrpSpPr/>
            <p:nvPr/>
          </p:nvGrpSpPr>
          <p:grpSpPr>
            <a:xfrm>
              <a:off x="1693161" y="4720892"/>
              <a:ext cx="5076672" cy="217221"/>
              <a:chOff x="6046746" y="5333433"/>
              <a:chExt cx="3291660" cy="311449"/>
            </a:xfrm>
            <a:noFill/>
          </p:grpSpPr>
          <p:sp>
            <p:nvSpPr>
              <p:cNvPr id="30" name="Rectangle 31">
                <a:extLst>
                  <a:ext uri="{FF2B5EF4-FFF2-40B4-BE49-F238E27FC236}">
                    <a16:creationId xmlns:a16="http://schemas.microsoft.com/office/drawing/2014/main" id="{86865F70-C7F3-4171-B22F-CF97EAB916F1}"/>
                  </a:ext>
                </a:extLst>
              </p:cNvPr>
              <p:cNvSpPr/>
              <p:nvPr/>
            </p:nvSpPr>
            <p:spPr bwMode="auto">
              <a:xfrm>
                <a:off x="6046746" y="5333433"/>
                <a:ext cx="612000" cy="311449"/>
              </a:xfrm>
              <a:prstGeom prst="roundRect">
                <a:avLst/>
              </a:prstGeom>
              <a:grpFill/>
              <a:ln w="6350" cap="flat" cmpd="sng" algn="ctr">
                <a:solidFill>
                  <a:schemeClr val="bg1">
                    <a:lumMod val="75000"/>
                  </a:schemeClr>
                </a:solidFill>
                <a:prstDash val="solid"/>
                <a:round/>
                <a:headEnd type="none" w="med" len="med"/>
                <a:tailEnd type="none" w="med" len="med"/>
              </a:ln>
              <a:effectLst/>
            </p:spPr>
            <p:txBody>
              <a:bodyPr vert="horz" wrap="square" lIns="47988" tIns="47988" rIns="47988" bIns="47988"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066" dirty="0">
                    <a:solidFill>
                      <a:schemeClr val="bg2">
                        <a:lumMod val="50000"/>
                      </a:schemeClr>
                    </a:solidFill>
                    <a:cs typeface="Arial" charset="0"/>
                  </a:rPr>
                  <a:t>Genetic</a:t>
                </a:r>
              </a:p>
            </p:txBody>
          </p:sp>
          <p:sp>
            <p:nvSpPr>
              <p:cNvPr id="31" name="Rectangle 32">
                <a:extLst>
                  <a:ext uri="{FF2B5EF4-FFF2-40B4-BE49-F238E27FC236}">
                    <a16:creationId xmlns:a16="http://schemas.microsoft.com/office/drawing/2014/main" id="{8A982196-7034-4BAB-B9CE-C5DDD873E8E7}"/>
                  </a:ext>
                </a:extLst>
              </p:cNvPr>
              <p:cNvSpPr/>
              <p:nvPr/>
            </p:nvSpPr>
            <p:spPr bwMode="auto">
              <a:xfrm>
                <a:off x="6716661" y="5333433"/>
                <a:ext cx="612000" cy="311449"/>
              </a:xfrm>
              <a:prstGeom prst="roundRect">
                <a:avLst/>
              </a:prstGeom>
              <a:grpFill/>
              <a:ln w="6350" cap="flat" cmpd="sng" algn="ctr">
                <a:solidFill>
                  <a:schemeClr val="bg1">
                    <a:lumMod val="75000"/>
                  </a:schemeClr>
                </a:solidFill>
                <a:prstDash val="solid"/>
                <a:round/>
                <a:headEnd type="none" w="med" len="med"/>
                <a:tailEnd type="none" w="med" len="med"/>
              </a:ln>
              <a:effectLst/>
            </p:spPr>
            <p:txBody>
              <a:bodyPr vert="horz" wrap="square" lIns="47988" tIns="47988" rIns="47988" bIns="47988"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066" dirty="0">
                    <a:solidFill>
                      <a:schemeClr val="bg2">
                        <a:lumMod val="50000"/>
                      </a:schemeClr>
                    </a:solidFill>
                    <a:cs typeface="Arial" charset="0"/>
                  </a:rPr>
                  <a:t>Mental</a:t>
                </a:r>
              </a:p>
            </p:txBody>
          </p:sp>
          <p:sp>
            <p:nvSpPr>
              <p:cNvPr id="32" name="Rectangle 33">
                <a:extLst>
                  <a:ext uri="{FF2B5EF4-FFF2-40B4-BE49-F238E27FC236}">
                    <a16:creationId xmlns:a16="http://schemas.microsoft.com/office/drawing/2014/main" id="{10F6C9F7-C1B6-467E-A682-1D33F9E02CDF}"/>
                  </a:ext>
                </a:extLst>
              </p:cNvPr>
              <p:cNvSpPr/>
              <p:nvPr/>
            </p:nvSpPr>
            <p:spPr bwMode="auto">
              <a:xfrm>
                <a:off x="7386576" y="5333433"/>
                <a:ext cx="612000" cy="311449"/>
              </a:xfrm>
              <a:prstGeom prst="roundRect">
                <a:avLst/>
              </a:prstGeom>
              <a:grpFill/>
              <a:ln w="6350" cap="flat" cmpd="sng" algn="ctr">
                <a:solidFill>
                  <a:schemeClr val="bg1">
                    <a:lumMod val="75000"/>
                  </a:schemeClr>
                </a:solidFill>
                <a:prstDash val="solid"/>
                <a:round/>
                <a:headEnd type="none" w="med" len="med"/>
                <a:tailEnd type="none" w="med" len="med"/>
              </a:ln>
              <a:effectLst/>
            </p:spPr>
            <p:txBody>
              <a:bodyPr vert="horz" wrap="square" lIns="47988" tIns="47988" rIns="47988" bIns="47988"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066" dirty="0">
                    <a:solidFill>
                      <a:schemeClr val="bg2">
                        <a:lumMod val="50000"/>
                      </a:schemeClr>
                    </a:solidFill>
                    <a:cs typeface="Arial" charset="0"/>
                  </a:rPr>
                  <a:t>Cultural</a:t>
                </a:r>
              </a:p>
            </p:txBody>
          </p:sp>
          <p:sp>
            <p:nvSpPr>
              <p:cNvPr id="33" name="Rectangle 34">
                <a:extLst>
                  <a:ext uri="{FF2B5EF4-FFF2-40B4-BE49-F238E27FC236}">
                    <a16:creationId xmlns:a16="http://schemas.microsoft.com/office/drawing/2014/main" id="{1970F41D-68D2-41D3-BA53-51B499E2D6FF}"/>
                  </a:ext>
                </a:extLst>
              </p:cNvPr>
              <p:cNvSpPr/>
              <p:nvPr/>
            </p:nvSpPr>
            <p:spPr bwMode="auto">
              <a:xfrm>
                <a:off x="8056491" y="5333433"/>
                <a:ext cx="612000" cy="311449"/>
              </a:xfrm>
              <a:prstGeom prst="roundRect">
                <a:avLst/>
              </a:prstGeom>
              <a:grpFill/>
              <a:ln w="6350" cap="flat" cmpd="sng" algn="ctr">
                <a:solidFill>
                  <a:schemeClr val="bg1">
                    <a:lumMod val="75000"/>
                  </a:schemeClr>
                </a:solidFill>
                <a:prstDash val="solid"/>
                <a:round/>
                <a:headEnd type="none" w="med" len="med"/>
                <a:tailEnd type="none" w="med" len="med"/>
              </a:ln>
              <a:effectLst/>
            </p:spPr>
            <p:txBody>
              <a:bodyPr vert="horz" wrap="square" lIns="47988" tIns="47988" rIns="47988" bIns="47988"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066" dirty="0">
                    <a:solidFill>
                      <a:schemeClr val="bg2">
                        <a:lumMod val="50000"/>
                      </a:schemeClr>
                    </a:solidFill>
                    <a:cs typeface="Arial" charset="0"/>
                  </a:rPr>
                  <a:t>Economic</a:t>
                </a:r>
              </a:p>
            </p:txBody>
          </p:sp>
          <p:sp>
            <p:nvSpPr>
              <p:cNvPr id="35" name="Rectangle 35">
                <a:extLst>
                  <a:ext uri="{FF2B5EF4-FFF2-40B4-BE49-F238E27FC236}">
                    <a16:creationId xmlns:a16="http://schemas.microsoft.com/office/drawing/2014/main" id="{0B6B8A5A-5A7C-42D0-A968-CADE6BD5334D}"/>
                  </a:ext>
                </a:extLst>
              </p:cNvPr>
              <p:cNvSpPr/>
              <p:nvPr/>
            </p:nvSpPr>
            <p:spPr bwMode="auto">
              <a:xfrm>
                <a:off x="8726406" y="5333433"/>
                <a:ext cx="612000" cy="311449"/>
              </a:xfrm>
              <a:prstGeom prst="roundRect">
                <a:avLst/>
              </a:prstGeom>
              <a:grpFill/>
              <a:ln w="6350" cap="flat" cmpd="sng" algn="ctr">
                <a:solidFill>
                  <a:schemeClr val="bg1">
                    <a:lumMod val="75000"/>
                  </a:schemeClr>
                </a:solidFill>
                <a:prstDash val="solid"/>
                <a:round/>
                <a:headEnd type="none" w="med" len="med"/>
                <a:tailEnd type="none" w="med" len="med"/>
              </a:ln>
              <a:effectLst/>
            </p:spPr>
            <p:txBody>
              <a:bodyPr vert="horz" wrap="square" lIns="47988" tIns="47988" rIns="47988" bIns="47988" numCol="1" rtlCol="0" anchor="ctr" anchorCtr="0" compatLnSpc="1">
                <a:prstTxWarp prst="textNoShape">
                  <a:avLst/>
                </a:prstTxWarp>
              </a:bodyPr>
              <a:lstStyle/>
              <a:p>
                <a:pPr algn="ctr" eaLnBrk="0" fontAlgn="base" hangingPunct="0">
                  <a:lnSpc>
                    <a:spcPct val="85000"/>
                  </a:lnSpc>
                  <a:spcBef>
                    <a:spcPct val="0"/>
                  </a:spcBef>
                  <a:spcAft>
                    <a:spcPts val="800"/>
                  </a:spcAft>
                </a:pPr>
                <a:r>
                  <a:rPr lang="en-US" sz="1066" dirty="0">
                    <a:solidFill>
                      <a:schemeClr val="bg2">
                        <a:lumMod val="50000"/>
                      </a:schemeClr>
                    </a:solidFill>
                    <a:cs typeface="Arial" charset="0"/>
                  </a:rPr>
                  <a:t>Social</a:t>
                </a:r>
              </a:p>
            </p:txBody>
          </p:sp>
        </p:grpSp>
      </p:grpSp>
      <p:grpSp>
        <p:nvGrpSpPr>
          <p:cNvPr id="4" name="Group 3">
            <a:extLst>
              <a:ext uri="{FF2B5EF4-FFF2-40B4-BE49-F238E27FC236}">
                <a16:creationId xmlns:a16="http://schemas.microsoft.com/office/drawing/2014/main" id="{EA60664F-DA5C-44CB-BE12-1358380A4B01}"/>
              </a:ext>
            </a:extLst>
          </p:cNvPr>
          <p:cNvGrpSpPr/>
          <p:nvPr/>
        </p:nvGrpSpPr>
        <p:grpSpPr>
          <a:xfrm>
            <a:off x="967394" y="5144578"/>
            <a:ext cx="10289057" cy="738664"/>
            <a:chOff x="1341008" y="3843131"/>
            <a:chExt cx="7718803" cy="554142"/>
          </a:xfrm>
        </p:grpSpPr>
        <p:sp>
          <p:nvSpPr>
            <p:cNvPr id="48" name="TextBox 47">
              <a:extLst>
                <a:ext uri="{FF2B5EF4-FFF2-40B4-BE49-F238E27FC236}">
                  <a16:creationId xmlns:a16="http://schemas.microsoft.com/office/drawing/2014/main" id="{00FCB389-F8CA-4AB4-B858-2275BE99BE2C}"/>
                </a:ext>
              </a:extLst>
            </p:cNvPr>
            <p:cNvSpPr txBox="1"/>
            <p:nvPr/>
          </p:nvSpPr>
          <p:spPr>
            <a:xfrm>
              <a:off x="1341008" y="3903158"/>
              <a:ext cx="2553122" cy="392517"/>
            </a:xfrm>
            <a:prstGeom prst="rect">
              <a:avLst/>
            </a:prstGeom>
            <a:noFill/>
          </p:spPr>
          <p:txBody>
            <a:bodyPr wrap="square" rtlCol="0">
              <a:spAutoFit/>
            </a:bodyPr>
            <a:lstStyle/>
            <a:p>
              <a:pPr algn="ctr" eaLnBrk="0" fontAlgn="base" hangingPunct="0">
                <a:spcBef>
                  <a:spcPct val="0"/>
                </a:spcBef>
              </a:pPr>
              <a:r>
                <a:rPr lang="en-US" sz="1400" dirty="0">
                  <a:solidFill>
                    <a:srgbClr val="FF0000"/>
                  </a:solidFill>
                  <a:cs typeface="Arial" charset="0"/>
                </a:rPr>
                <a:t>Fines of up to 20 million euros or 4% of world wide annual turnover</a:t>
              </a:r>
              <a:endParaRPr lang="en-US" sz="1466" dirty="0">
                <a:solidFill>
                  <a:srgbClr val="FF0000"/>
                </a:solidFill>
                <a:cs typeface="Arial" charset="0"/>
              </a:endParaRPr>
            </a:p>
          </p:txBody>
        </p:sp>
        <p:sp>
          <p:nvSpPr>
            <p:cNvPr id="49" name="TextBox 48">
              <a:extLst>
                <a:ext uri="{FF2B5EF4-FFF2-40B4-BE49-F238E27FC236}">
                  <a16:creationId xmlns:a16="http://schemas.microsoft.com/office/drawing/2014/main" id="{252C1DC0-5C0D-4B07-B396-A2B6FFBAFDB6}"/>
                </a:ext>
              </a:extLst>
            </p:cNvPr>
            <p:cNvSpPr txBox="1"/>
            <p:nvPr/>
          </p:nvSpPr>
          <p:spPr>
            <a:xfrm>
              <a:off x="4239222" y="3843131"/>
              <a:ext cx="1903096" cy="554142"/>
            </a:xfrm>
            <a:prstGeom prst="rect">
              <a:avLst/>
            </a:prstGeom>
            <a:noFill/>
          </p:spPr>
          <p:txBody>
            <a:bodyPr wrap="square" rtlCol="0">
              <a:spAutoFit/>
            </a:bodyPr>
            <a:lstStyle/>
            <a:p>
              <a:pPr algn="ctr" eaLnBrk="0" fontAlgn="base" hangingPunct="0">
                <a:spcBef>
                  <a:spcPct val="0"/>
                </a:spcBef>
              </a:pPr>
              <a:r>
                <a:rPr lang="en-US" sz="1400" dirty="0">
                  <a:solidFill>
                    <a:srgbClr val="FF0000"/>
                  </a:solidFill>
                  <a:cs typeface="Arial" charset="0"/>
                </a:rPr>
                <a:t>Authority can issue instruction </a:t>
              </a:r>
            </a:p>
            <a:p>
              <a:pPr algn="ctr" eaLnBrk="0" fontAlgn="base" hangingPunct="0">
                <a:spcBef>
                  <a:spcPct val="0"/>
                </a:spcBef>
              </a:pPr>
              <a:r>
                <a:rPr lang="en-US" sz="1400" dirty="0">
                  <a:solidFill>
                    <a:srgbClr val="FF0000"/>
                  </a:solidFill>
                  <a:cs typeface="Arial" charset="0"/>
                </a:rPr>
                <a:t>to cease processing</a:t>
              </a:r>
            </a:p>
          </p:txBody>
        </p:sp>
        <p:sp>
          <p:nvSpPr>
            <p:cNvPr id="50" name="TextBox 49">
              <a:extLst>
                <a:ext uri="{FF2B5EF4-FFF2-40B4-BE49-F238E27FC236}">
                  <a16:creationId xmlns:a16="http://schemas.microsoft.com/office/drawing/2014/main" id="{57ED92A9-81C0-41A1-A083-268503E047CF}"/>
                </a:ext>
              </a:extLst>
            </p:cNvPr>
            <p:cNvSpPr txBox="1"/>
            <p:nvPr/>
          </p:nvSpPr>
          <p:spPr>
            <a:xfrm>
              <a:off x="6641526" y="3913687"/>
              <a:ext cx="2418285" cy="392517"/>
            </a:xfrm>
            <a:prstGeom prst="rect">
              <a:avLst/>
            </a:prstGeom>
            <a:noFill/>
          </p:spPr>
          <p:txBody>
            <a:bodyPr wrap="square" rtlCol="0">
              <a:spAutoFit/>
            </a:bodyPr>
            <a:lstStyle/>
            <a:p>
              <a:pPr algn="ctr" eaLnBrk="0" fontAlgn="base" hangingPunct="0">
                <a:spcBef>
                  <a:spcPct val="0"/>
                </a:spcBef>
              </a:pPr>
              <a:r>
                <a:rPr lang="en-US" sz="1400" dirty="0">
                  <a:solidFill>
                    <a:srgbClr val="FF0000"/>
                  </a:solidFill>
                  <a:cs typeface="Arial" charset="0"/>
                </a:rPr>
                <a:t>Non-compliance can lead to loss of brand reputation and  trust</a:t>
              </a:r>
            </a:p>
          </p:txBody>
        </p:sp>
      </p:grpSp>
    </p:spTree>
    <p:extLst>
      <p:ext uri="{BB962C8B-B14F-4D97-AF65-F5344CB8AC3E}">
        <p14:creationId xmlns:p14="http://schemas.microsoft.com/office/powerpoint/2010/main" val="236222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8">
                                            <p:txEl>
                                              <p:pRg st="0" end="0"/>
                                            </p:txEl>
                                          </p:spTgt>
                                        </p:tgtEl>
                                        <p:attrNameLst>
                                          <p:attrName>style.visibility</p:attrName>
                                        </p:attrNameLst>
                                      </p:cBhvr>
                                      <p:to>
                                        <p:strVal val="visible"/>
                                      </p:to>
                                    </p:set>
                                    <p:animEffect transition="in" filter="fade">
                                      <p:cBhvr>
                                        <p:cTn id="11" dur="750"/>
                                        <p:tgtEl>
                                          <p:spTgt spid="28">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8">
                                            <p:txEl>
                                              <p:pRg st="1" end="1"/>
                                            </p:txEl>
                                          </p:spTgt>
                                        </p:tgtEl>
                                        <p:attrNameLst>
                                          <p:attrName>style.visibility</p:attrName>
                                        </p:attrNameLst>
                                      </p:cBhvr>
                                      <p:to>
                                        <p:strVal val="visible"/>
                                      </p:to>
                                    </p:set>
                                    <p:animEffect transition="in" filter="fade">
                                      <p:cBhvr>
                                        <p:cTn id="16" dur="750"/>
                                        <p:tgtEl>
                                          <p:spTgt spid="28">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8">
                                            <p:txEl>
                                              <p:pRg st="2" end="2"/>
                                            </p:txEl>
                                          </p:spTgt>
                                        </p:tgtEl>
                                        <p:attrNameLst>
                                          <p:attrName>style.visibility</p:attrName>
                                        </p:attrNameLst>
                                      </p:cBhvr>
                                      <p:to>
                                        <p:strVal val="visible"/>
                                      </p:to>
                                    </p:set>
                                    <p:animEffect transition="in" filter="fade">
                                      <p:cBhvr>
                                        <p:cTn id="21" dur="750"/>
                                        <p:tgtEl>
                                          <p:spTgt spid="28">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28">
                                            <p:txEl>
                                              <p:pRg st="0" end="0"/>
                                            </p:txEl>
                                          </p:spTgt>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28">
                                            <p:txEl>
                                              <p:pRg st="1" end="1"/>
                                            </p:txEl>
                                          </p:spTgt>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28">
                                            <p:txEl>
                                              <p:pRg st="2" end="2"/>
                                            </p:txEl>
                                          </p:spTgt>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28" grpId="0" uiExpand="1" build="p"/>
      <p:bldP spid="28" grpI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F3285-6713-4C21-AC3D-624A3FBD63FD}"/>
              </a:ext>
            </a:extLst>
          </p:cNvPr>
          <p:cNvSpPr>
            <a:spLocks noGrp="1"/>
          </p:cNvSpPr>
          <p:nvPr>
            <p:ph type="title"/>
          </p:nvPr>
        </p:nvSpPr>
        <p:spPr/>
        <p:txBody>
          <a:bodyPr/>
          <a:lstStyle/>
          <a:p>
            <a:r>
              <a:rPr lang="en-GB" dirty="0"/>
              <a:t>3</a:t>
            </a:r>
            <a:r>
              <a:rPr lang="en-GB" baseline="30000" dirty="0"/>
              <a:t>rd</a:t>
            </a:r>
            <a:r>
              <a:rPr lang="en-GB" dirty="0"/>
              <a:t> party SaaS &amp; data – Cloud App Security</a:t>
            </a:r>
            <a:endParaRPr lang="en-US" dirty="0"/>
          </a:p>
        </p:txBody>
      </p:sp>
      <p:sp>
        <p:nvSpPr>
          <p:cNvPr id="4" name="Slide Number Placeholder 3">
            <a:extLst>
              <a:ext uri="{FF2B5EF4-FFF2-40B4-BE49-F238E27FC236}">
                <a16:creationId xmlns:a16="http://schemas.microsoft.com/office/drawing/2014/main" id="{C84E9873-0C46-4D79-9A44-965C3CFACD78}"/>
              </a:ext>
            </a:extLst>
          </p:cNvPr>
          <p:cNvSpPr>
            <a:spLocks noGrp="1"/>
          </p:cNvSpPr>
          <p:nvPr>
            <p:ph type="sldNum" sz="quarter" idx="10"/>
          </p:nvPr>
        </p:nvSpPr>
        <p:spPr/>
        <p:txBody>
          <a:bodyPr/>
          <a:lstStyle/>
          <a:p>
            <a:fld id="{4EACBA47-91FC-4F0F-98EF-AF8B449ABA17}" type="slidenum">
              <a:rPr lang="nl-NL" noProof="0" smtClean="0"/>
              <a:pPr/>
              <a:t>20</a:t>
            </a:fld>
            <a:endParaRPr lang="nl-NL" noProof="0"/>
          </a:p>
        </p:txBody>
      </p:sp>
      <p:sp>
        <p:nvSpPr>
          <p:cNvPr id="5" name="Footer Placeholder 4">
            <a:extLst>
              <a:ext uri="{FF2B5EF4-FFF2-40B4-BE49-F238E27FC236}">
                <a16:creationId xmlns:a16="http://schemas.microsoft.com/office/drawing/2014/main" id="{3FDC572F-8473-4525-BB96-D8FFCF41294B}"/>
              </a:ext>
            </a:extLst>
          </p:cNvPr>
          <p:cNvSpPr>
            <a:spLocks noGrp="1"/>
          </p:cNvSpPr>
          <p:nvPr>
            <p:ph type="ftr" sz="quarter" idx="11"/>
          </p:nvPr>
        </p:nvSpPr>
        <p:spPr/>
        <p:txBody>
          <a:bodyPr/>
          <a:lstStyle/>
          <a:p>
            <a:r>
              <a:rPr lang="nl-NL" noProof="0"/>
              <a:t>Sogeti PowerPoint Referentie 2014</a:t>
            </a:r>
          </a:p>
        </p:txBody>
      </p:sp>
      <p:pic>
        <p:nvPicPr>
          <p:cNvPr id="6" name="Picture 5">
            <a:extLst>
              <a:ext uri="{FF2B5EF4-FFF2-40B4-BE49-F238E27FC236}">
                <a16:creationId xmlns:a16="http://schemas.microsoft.com/office/drawing/2014/main" id="{1FFE91A0-4ACA-4172-AA20-3F040C692C6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7876" t="10681" r="17873"/>
          <a:stretch/>
        </p:blipFill>
        <p:spPr>
          <a:xfrm>
            <a:off x="1293812" y="1415161"/>
            <a:ext cx="4571733" cy="4633810"/>
          </a:xfrm>
          <a:prstGeom prst="rect">
            <a:avLst/>
          </a:prstGeom>
        </p:spPr>
      </p:pic>
      <p:sp>
        <p:nvSpPr>
          <p:cNvPr id="7" name="TextBox 6">
            <a:extLst>
              <a:ext uri="{FF2B5EF4-FFF2-40B4-BE49-F238E27FC236}">
                <a16:creationId xmlns:a16="http://schemas.microsoft.com/office/drawing/2014/main" id="{BB6807BA-EACC-4D3F-A91B-889B72FB0594}"/>
              </a:ext>
            </a:extLst>
          </p:cNvPr>
          <p:cNvSpPr txBox="1"/>
          <p:nvPr/>
        </p:nvSpPr>
        <p:spPr>
          <a:xfrm>
            <a:off x="6323281" y="1752600"/>
            <a:ext cx="5777148" cy="4112772"/>
          </a:xfrm>
          <a:prstGeom prst="rect">
            <a:avLst/>
          </a:prstGeom>
          <a:noFill/>
        </p:spPr>
        <p:txBody>
          <a:bodyPr wrap="square" lIns="182828" tIns="146262" rIns="182828" bIns="146262" rtlCol="0">
            <a:spAutoFit/>
          </a:bodyPr>
          <a:lstStyle/>
          <a:p>
            <a:pPr defTabSz="932418">
              <a:lnSpc>
                <a:spcPct val="90000"/>
              </a:lnSpc>
              <a:spcBef>
                <a:spcPts val="612"/>
              </a:spcBef>
              <a:spcAft>
                <a:spcPts val="600"/>
              </a:spcAft>
              <a:defRPr/>
            </a:pPr>
            <a:r>
              <a:rPr lang="en-US" sz="1836" dirty="0">
                <a:solidFill>
                  <a:schemeClr val="accent2"/>
                </a:solidFill>
              </a:rPr>
              <a:t>Discovery</a:t>
            </a:r>
          </a:p>
          <a:p>
            <a:pPr marL="291436" lvl="1" indent="-198177" defTabSz="932418">
              <a:lnSpc>
                <a:spcPct val="90000"/>
              </a:lnSpc>
              <a:spcBef>
                <a:spcPts val="612"/>
              </a:spcBef>
              <a:spcAft>
                <a:spcPts val="600"/>
              </a:spcAft>
              <a:buFont typeface="Arial" panose="020B0604020202020204" pitchFamily="34" charset="0"/>
              <a:buChar char="•"/>
              <a:defRPr/>
            </a:pPr>
            <a:r>
              <a:rPr lang="en-US" sz="1428" dirty="0"/>
              <a:t>Manually or automatically upload traffic logs files from your firewalls and proxies to discover and analyze which cloud apps are in use</a:t>
            </a:r>
          </a:p>
          <a:p>
            <a:pPr marL="291436" lvl="1" indent="-198177" defTabSz="932418">
              <a:lnSpc>
                <a:spcPct val="90000"/>
              </a:lnSpc>
              <a:spcBef>
                <a:spcPts val="612"/>
              </a:spcBef>
              <a:spcAft>
                <a:spcPts val="600"/>
              </a:spcAft>
              <a:buFont typeface="Arial" panose="020B0604020202020204" pitchFamily="34" charset="0"/>
              <a:buChar char="•"/>
              <a:defRPr/>
            </a:pPr>
            <a:r>
              <a:rPr lang="en-US" sz="1428" dirty="0"/>
              <a:t>Sanction or block apps in your organization using the cloud app catalog</a:t>
            </a:r>
          </a:p>
          <a:p>
            <a:pPr defTabSz="932418">
              <a:lnSpc>
                <a:spcPct val="90000"/>
              </a:lnSpc>
              <a:spcBef>
                <a:spcPts val="612"/>
              </a:spcBef>
              <a:spcAft>
                <a:spcPts val="600"/>
              </a:spcAft>
              <a:defRPr/>
            </a:pPr>
            <a:r>
              <a:rPr lang="en-US" sz="1836" dirty="0">
                <a:solidFill>
                  <a:schemeClr val="accent2"/>
                </a:solidFill>
              </a:rPr>
              <a:t>App connectors</a:t>
            </a:r>
          </a:p>
          <a:p>
            <a:pPr marL="291436" lvl="1" indent="-198177" defTabSz="932418">
              <a:lnSpc>
                <a:spcPct val="90000"/>
              </a:lnSpc>
              <a:spcBef>
                <a:spcPts val="612"/>
              </a:spcBef>
              <a:spcAft>
                <a:spcPts val="600"/>
              </a:spcAft>
              <a:buFont typeface="Arial" panose="020B0604020202020204" pitchFamily="34" charset="0"/>
              <a:buChar char="•"/>
              <a:defRPr/>
            </a:pPr>
            <a:r>
              <a:rPr lang="en-US" sz="1428" dirty="0"/>
              <a:t>Leverage APIs provided by various cloud app providers to extend protection to Cloud App Security</a:t>
            </a:r>
          </a:p>
          <a:p>
            <a:pPr defTabSz="932418">
              <a:lnSpc>
                <a:spcPct val="90000"/>
              </a:lnSpc>
              <a:spcBef>
                <a:spcPts val="612"/>
              </a:spcBef>
              <a:spcAft>
                <a:spcPts val="600"/>
              </a:spcAft>
              <a:defRPr/>
            </a:pPr>
            <a:r>
              <a:rPr lang="en-US" sz="1836" dirty="0">
                <a:solidFill>
                  <a:schemeClr val="accent2"/>
                </a:solidFill>
              </a:rPr>
              <a:t>Proxy apps</a:t>
            </a:r>
          </a:p>
          <a:p>
            <a:pPr marL="291436" lvl="1" indent="-198177" defTabSz="932418">
              <a:lnSpc>
                <a:spcPct val="90000"/>
              </a:lnSpc>
              <a:spcBef>
                <a:spcPts val="612"/>
              </a:spcBef>
              <a:spcAft>
                <a:spcPts val="600"/>
              </a:spcAft>
              <a:buFont typeface="Arial" panose="020B0604020202020204" pitchFamily="34" charset="0"/>
              <a:buChar char="•"/>
              <a:defRPr/>
            </a:pPr>
            <a:r>
              <a:rPr lang="en-US" sz="1428" dirty="0"/>
              <a:t>Azure AD redirects risky sessions to the reverse proxy to apply app restrictions</a:t>
            </a:r>
          </a:p>
          <a:p>
            <a:pPr marL="291436" lvl="1" indent="-198177" defTabSz="932418">
              <a:lnSpc>
                <a:spcPct val="90000"/>
              </a:lnSpc>
              <a:spcBef>
                <a:spcPts val="612"/>
              </a:spcBef>
              <a:spcAft>
                <a:spcPts val="600"/>
              </a:spcAft>
              <a:buFont typeface="Arial" panose="020B0604020202020204" pitchFamily="34" charset="0"/>
              <a:buChar char="•"/>
              <a:defRPr/>
            </a:pPr>
            <a:endParaRPr lang="en-US" sz="1428" dirty="0"/>
          </a:p>
        </p:txBody>
      </p:sp>
    </p:spTree>
    <p:extLst>
      <p:ext uri="{BB962C8B-B14F-4D97-AF65-F5344CB8AC3E}">
        <p14:creationId xmlns:p14="http://schemas.microsoft.com/office/powerpoint/2010/main" val="60509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2455D7-E1E5-49A0-85C7-296B37FA0CEE}"/>
              </a:ext>
            </a:extLst>
          </p:cNvPr>
          <p:cNvSpPr>
            <a:spLocks noGrp="1"/>
          </p:cNvSpPr>
          <p:nvPr>
            <p:ph type="title"/>
          </p:nvPr>
        </p:nvSpPr>
        <p:spPr/>
        <p:txBody>
          <a:bodyPr/>
          <a:lstStyle/>
          <a:p>
            <a:r>
              <a:rPr lang="en-GB" dirty="0"/>
              <a:t>3</a:t>
            </a:r>
            <a:r>
              <a:rPr lang="en-GB" baseline="30000" dirty="0"/>
              <a:t>rd</a:t>
            </a:r>
            <a:r>
              <a:rPr lang="en-GB" dirty="0"/>
              <a:t> party SaaS &amp; data – Proxy</a:t>
            </a:r>
            <a:endParaRPr lang="en-US" dirty="0"/>
          </a:p>
        </p:txBody>
      </p:sp>
      <p:pic>
        <p:nvPicPr>
          <p:cNvPr id="23" name="Picture 22">
            <a:extLst>
              <a:ext uri="{FF2B5EF4-FFF2-40B4-BE49-F238E27FC236}">
                <a16:creationId xmlns:a16="http://schemas.microsoft.com/office/drawing/2014/main" id="{8ABF0EC9-1D01-4CE1-B616-26D57B166640}"/>
              </a:ext>
            </a:extLst>
          </p:cNvPr>
          <p:cNvPicPr>
            <a:picLocks noChangeAspect="1"/>
          </p:cNvPicPr>
          <p:nvPr/>
        </p:nvPicPr>
        <p:blipFill>
          <a:blip r:embed="rId2"/>
          <a:stretch>
            <a:fillRect/>
          </a:stretch>
        </p:blipFill>
        <p:spPr>
          <a:xfrm>
            <a:off x="455612" y="1371600"/>
            <a:ext cx="11277062" cy="4343400"/>
          </a:xfrm>
          <a:prstGeom prst="rect">
            <a:avLst/>
          </a:prstGeom>
        </p:spPr>
      </p:pic>
    </p:spTree>
    <p:extLst>
      <p:ext uri="{BB962C8B-B14F-4D97-AF65-F5344CB8AC3E}">
        <p14:creationId xmlns:p14="http://schemas.microsoft.com/office/powerpoint/2010/main" val="405309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AACF65BE-0974-4C66-A4B0-8078CA6F5E51}"/>
              </a:ext>
            </a:extLst>
          </p:cNvPr>
          <p:cNvSpPr>
            <a:spLocks noGrp="1"/>
          </p:cNvSpPr>
          <p:nvPr>
            <p:ph type="title"/>
          </p:nvPr>
        </p:nvSpPr>
        <p:spPr/>
        <p:txBody>
          <a:bodyPr/>
          <a:lstStyle/>
          <a:p>
            <a:r>
              <a:rPr lang="nl-NL" dirty="0"/>
              <a:t>Demo</a:t>
            </a:r>
          </a:p>
        </p:txBody>
      </p:sp>
      <p:sp>
        <p:nvSpPr>
          <p:cNvPr id="4" name="Tijdelijke aanduiding voor dianummer 3">
            <a:extLst>
              <a:ext uri="{FF2B5EF4-FFF2-40B4-BE49-F238E27FC236}">
                <a16:creationId xmlns:a16="http://schemas.microsoft.com/office/drawing/2014/main" id="{EB15068E-6324-471E-A95F-DE21D5C48CE2}"/>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22</a:t>
            </a:fld>
            <a:endParaRPr lang="nl-NL" noProof="0"/>
          </a:p>
        </p:txBody>
      </p:sp>
      <p:pic>
        <p:nvPicPr>
          <p:cNvPr id="10" name="Picture 2" descr="https://images.trvl-media.com/hotels/6000000/5540000/5538400/5538338/5538338_3_z.jpg">
            <a:extLst>
              <a:ext uri="{FF2B5EF4-FFF2-40B4-BE49-F238E27FC236}">
                <a16:creationId xmlns:a16="http://schemas.microsoft.com/office/drawing/2014/main" id="{F593EA67-BA71-487B-9422-F99A583DCB69}"/>
              </a:ext>
            </a:extLst>
          </p:cNvPr>
          <p:cNvPicPr>
            <a:picLocks noGrp="1" noChangeAspect="1" noChangeArrowheads="1"/>
          </p:cNvPicPr>
          <p:nvPr>
            <p:ph type="chart" sz="quarter" idx="4294967295"/>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95844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D8395D-4B37-4C9E-82DE-91EE9DC8D7D4}"/>
              </a:ext>
            </a:extLst>
          </p:cNvPr>
          <p:cNvSpPr>
            <a:spLocks noGrp="1"/>
          </p:cNvSpPr>
          <p:nvPr>
            <p:ph type="title"/>
          </p:nvPr>
        </p:nvSpPr>
        <p:spPr/>
        <p:txBody>
          <a:bodyPr/>
          <a:lstStyle/>
          <a:p>
            <a:r>
              <a:rPr lang="nl-NL" dirty="0"/>
              <a:t>Data governance</a:t>
            </a:r>
          </a:p>
        </p:txBody>
      </p:sp>
      <p:sp>
        <p:nvSpPr>
          <p:cNvPr id="4" name="Tijdelijke aanduiding voor inhoud 3">
            <a:extLst>
              <a:ext uri="{FF2B5EF4-FFF2-40B4-BE49-F238E27FC236}">
                <a16:creationId xmlns:a16="http://schemas.microsoft.com/office/drawing/2014/main" id="{65D10E2F-2B76-4A15-AA43-3C32CF9A36EF}"/>
              </a:ext>
            </a:extLst>
          </p:cNvPr>
          <p:cNvSpPr>
            <a:spLocks noGrp="1"/>
          </p:cNvSpPr>
          <p:nvPr>
            <p:ph sz="half" idx="1"/>
          </p:nvPr>
        </p:nvSpPr>
        <p:spPr/>
        <p:txBody>
          <a:bodyPr/>
          <a:lstStyle/>
          <a:p>
            <a:pPr>
              <a:buFont typeface="Arial" panose="020B0604020202020204" pitchFamily="34" charset="0"/>
              <a:buChar char="•"/>
            </a:pPr>
            <a:r>
              <a:rPr lang="nl-NL" dirty="0"/>
              <a:t>Vind informatie</a:t>
            </a:r>
          </a:p>
          <a:p>
            <a:pPr>
              <a:buFont typeface="Arial" panose="020B0604020202020204" pitchFamily="34" charset="0"/>
              <a:buChar char="•"/>
            </a:pPr>
            <a:endParaRPr lang="nl-NL" dirty="0"/>
          </a:p>
          <a:p>
            <a:pPr>
              <a:buFont typeface="Arial" panose="020B0604020202020204" pitchFamily="34" charset="0"/>
              <a:buChar char="•"/>
            </a:pPr>
            <a:r>
              <a:rPr lang="nl-NL" dirty="0"/>
              <a:t>Classificeer informatie</a:t>
            </a:r>
          </a:p>
          <a:p>
            <a:pPr>
              <a:buFont typeface="Arial" panose="020B0604020202020204" pitchFamily="34" charset="0"/>
              <a:buChar char="•"/>
            </a:pPr>
            <a:endParaRPr lang="nl-NL" dirty="0"/>
          </a:p>
          <a:p>
            <a:pPr>
              <a:buFont typeface="Arial" panose="020B0604020202020204" pitchFamily="34" charset="0"/>
              <a:buChar char="•"/>
            </a:pPr>
            <a:r>
              <a:rPr lang="nl-NL" dirty="0"/>
              <a:t>Bescherm informatie</a:t>
            </a:r>
          </a:p>
          <a:p>
            <a:pPr>
              <a:buFont typeface="Arial" panose="020B0604020202020204" pitchFamily="34" charset="0"/>
              <a:buChar char="•"/>
            </a:pPr>
            <a:endParaRPr lang="nl-NL" dirty="0"/>
          </a:p>
          <a:p>
            <a:pPr>
              <a:buFont typeface="Arial" panose="020B0604020202020204" pitchFamily="34" charset="0"/>
              <a:buChar char="•"/>
            </a:pPr>
            <a:r>
              <a:rPr lang="nl-NL" dirty="0"/>
              <a:t>Rapporteer over informatie</a:t>
            </a:r>
          </a:p>
        </p:txBody>
      </p:sp>
      <p:pic>
        <p:nvPicPr>
          <p:cNvPr id="13" name="Afbeelding 7" descr="Schermopname">
            <a:extLst>
              <a:ext uri="{FF2B5EF4-FFF2-40B4-BE49-F238E27FC236}">
                <a16:creationId xmlns:a16="http://schemas.microsoft.com/office/drawing/2014/main" id="{4D61954F-4868-40D4-9934-C0820AD5DB5B}"/>
              </a:ext>
            </a:extLst>
          </p:cNvPr>
          <p:cNvPicPr>
            <a:picLocks noGrp="1" noChangeAspect="1"/>
          </p:cNvPicPr>
          <p:nvPr>
            <p:ph sz="half" idx="10"/>
          </p:nvPr>
        </p:nvPicPr>
        <p:blipFill>
          <a:blip r:embed="rId3"/>
          <a:stretch>
            <a:fillRect/>
          </a:stretch>
        </p:blipFill>
        <p:spPr>
          <a:xfrm>
            <a:off x="6334125" y="2475701"/>
            <a:ext cx="5492750" cy="3051185"/>
          </a:xfrm>
          <a:prstGeom prst="rect">
            <a:avLst/>
          </a:prstGeom>
          <a:ln>
            <a:solidFill>
              <a:schemeClr val="tx1"/>
            </a:solidFill>
          </a:ln>
        </p:spPr>
      </p:pic>
    </p:spTree>
    <p:extLst>
      <p:ext uri="{BB962C8B-B14F-4D97-AF65-F5344CB8AC3E}">
        <p14:creationId xmlns:p14="http://schemas.microsoft.com/office/powerpoint/2010/main" val="340594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22263E3D-BDF9-422C-BE96-2CBE2C48C6A5}"/>
              </a:ext>
            </a:extLst>
          </p:cNvPr>
          <p:cNvSpPr>
            <a:spLocks noGrp="1"/>
          </p:cNvSpPr>
          <p:nvPr>
            <p:ph sz="quarter" idx="13"/>
          </p:nvPr>
        </p:nvSpPr>
        <p:spPr/>
        <p:txBody>
          <a:bodyPr/>
          <a:lstStyle/>
          <a:p>
            <a:pPr>
              <a:buFont typeface="Arial" panose="020B0604020202020204" pitchFamily="34" charset="0"/>
              <a:buChar char="•"/>
            </a:pPr>
            <a:r>
              <a:rPr lang="nl-NL" b="1" dirty="0"/>
              <a:t>Labels</a:t>
            </a:r>
          </a:p>
          <a:p>
            <a:pPr lvl="1">
              <a:buFont typeface="Arial" panose="020B0604020202020204" pitchFamily="34" charset="0"/>
              <a:buChar char="•"/>
            </a:pPr>
            <a:r>
              <a:rPr lang="nl-NL" dirty="0"/>
              <a:t>Tag content (bijvoorbeeld PII)</a:t>
            </a:r>
          </a:p>
          <a:p>
            <a:pPr lvl="1">
              <a:buFont typeface="Arial" panose="020B0604020202020204" pitchFamily="34" charset="0"/>
              <a:buChar char="•"/>
            </a:pPr>
            <a:r>
              <a:rPr lang="nl-NL" dirty="0"/>
              <a:t>Bedoeld voor data retentie, expiratie en record management</a:t>
            </a:r>
          </a:p>
          <a:p>
            <a:pPr lvl="1">
              <a:buFont typeface="Arial" panose="020B0604020202020204" pitchFamily="34" charset="0"/>
              <a:buChar char="•"/>
            </a:pPr>
            <a:r>
              <a:rPr lang="nl-NL" dirty="0"/>
              <a:t>Handmatig of automatisch</a:t>
            </a:r>
          </a:p>
          <a:p>
            <a:pPr lvl="1">
              <a:buFont typeface="Arial" panose="020B0604020202020204" pitchFamily="34" charset="0"/>
              <a:buChar char="•"/>
            </a:pPr>
            <a:r>
              <a:rPr lang="nl-NL" dirty="0"/>
              <a:t>Specifieke locaties (excl. Skype en Exchange public folders)</a:t>
            </a:r>
          </a:p>
          <a:p>
            <a:pPr lvl="1">
              <a:buFont typeface="Arial" panose="020B0604020202020204" pitchFamily="34" charset="0"/>
              <a:buChar char="•"/>
            </a:pPr>
            <a:r>
              <a:rPr lang="nl-NL" dirty="0"/>
              <a:t>Label policy nodig om te activeren</a:t>
            </a:r>
          </a:p>
        </p:txBody>
      </p:sp>
      <p:sp>
        <p:nvSpPr>
          <p:cNvPr id="2" name="Titel 1">
            <a:extLst>
              <a:ext uri="{FF2B5EF4-FFF2-40B4-BE49-F238E27FC236}">
                <a16:creationId xmlns:a16="http://schemas.microsoft.com/office/drawing/2014/main" id="{D05F207E-4CFB-466A-AE33-A2D7EFF794F0}"/>
              </a:ext>
            </a:extLst>
          </p:cNvPr>
          <p:cNvSpPr>
            <a:spLocks noGrp="1"/>
          </p:cNvSpPr>
          <p:nvPr>
            <p:ph type="title"/>
          </p:nvPr>
        </p:nvSpPr>
        <p:spPr/>
        <p:txBody>
          <a:bodyPr/>
          <a:lstStyle/>
          <a:p>
            <a:r>
              <a:rPr lang="nl-NL" dirty="0"/>
              <a:t>Data governance labels</a:t>
            </a:r>
          </a:p>
        </p:txBody>
      </p:sp>
      <p:pic>
        <p:nvPicPr>
          <p:cNvPr id="7" name="Picture 3" descr="Screen Clipping">
            <a:extLst>
              <a:ext uri="{FF2B5EF4-FFF2-40B4-BE49-F238E27FC236}">
                <a16:creationId xmlns:a16="http://schemas.microsoft.com/office/drawing/2014/main" id="{A3447D66-6BEF-4F8D-958B-ADF1E7C21447}"/>
              </a:ext>
            </a:extLst>
          </p:cNvPr>
          <p:cNvPicPr>
            <a:picLocks noGrp="1" noChangeAspect="1"/>
          </p:cNvPicPr>
          <p:nvPr>
            <p:ph sz="quarter" idx="14"/>
          </p:nvPr>
        </p:nvPicPr>
        <p:blipFill>
          <a:blip r:embed="rId3"/>
          <a:stretch>
            <a:fillRect/>
          </a:stretch>
        </p:blipFill>
        <p:spPr>
          <a:xfrm>
            <a:off x="6452271" y="1714500"/>
            <a:ext cx="5038971" cy="4035425"/>
          </a:xfrm>
          <a:prstGeom prst="rect">
            <a:avLst/>
          </a:prstGeom>
          <a:ln>
            <a:solidFill>
              <a:schemeClr val="tx1"/>
            </a:solidFill>
          </a:ln>
        </p:spPr>
      </p:pic>
    </p:spTree>
    <p:extLst>
      <p:ext uri="{BB962C8B-B14F-4D97-AF65-F5344CB8AC3E}">
        <p14:creationId xmlns:p14="http://schemas.microsoft.com/office/powerpoint/2010/main" val="105911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AACF65BE-0974-4C66-A4B0-8078CA6F5E51}"/>
              </a:ext>
            </a:extLst>
          </p:cNvPr>
          <p:cNvSpPr>
            <a:spLocks noGrp="1"/>
          </p:cNvSpPr>
          <p:nvPr>
            <p:ph type="title"/>
          </p:nvPr>
        </p:nvSpPr>
        <p:spPr/>
        <p:txBody>
          <a:bodyPr/>
          <a:lstStyle/>
          <a:p>
            <a:r>
              <a:rPr lang="nl-NL" dirty="0"/>
              <a:t>Demo</a:t>
            </a:r>
          </a:p>
        </p:txBody>
      </p:sp>
      <p:sp>
        <p:nvSpPr>
          <p:cNvPr id="4" name="Tijdelijke aanduiding voor dianummer 3">
            <a:extLst>
              <a:ext uri="{FF2B5EF4-FFF2-40B4-BE49-F238E27FC236}">
                <a16:creationId xmlns:a16="http://schemas.microsoft.com/office/drawing/2014/main" id="{EB15068E-6324-471E-A95F-DE21D5C48CE2}"/>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25</a:t>
            </a:fld>
            <a:endParaRPr lang="nl-NL" noProof="0"/>
          </a:p>
        </p:txBody>
      </p:sp>
      <p:pic>
        <p:nvPicPr>
          <p:cNvPr id="10" name="Picture 2" descr="https://images.trvl-media.com/hotels/6000000/5540000/5538400/5538338/5538338_3_z.jpg">
            <a:extLst>
              <a:ext uri="{FF2B5EF4-FFF2-40B4-BE49-F238E27FC236}">
                <a16:creationId xmlns:a16="http://schemas.microsoft.com/office/drawing/2014/main" id="{F593EA67-BA71-487B-9422-F99A583DCB69}"/>
              </a:ext>
            </a:extLst>
          </p:cNvPr>
          <p:cNvPicPr>
            <a:picLocks noGrp="1" noChangeAspect="1" noChangeArrowheads="1"/>
          </p:cNvPicPr>
          <p:nvPr>
            <p:ph type="chart" sz="quarter" idx="4294967295"/>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270518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781027-FFCF-49D7-B23D-58FF88880795}"/>
              </a:ext>
            </a:extLst>
          </p:cNvPr>
          <p:cNvSpPr>
            <a:spLocks noGrp="1"/>
          </p:cNvSpPr>
          <p:nvPr>
            <p:ph type="title"/>
          </p:nvPr>
        </p:nvSpPr>
        <p:spPr/>
        <p:txBody>
          <a:bodyPr/>
          <a:lstStyle/>
          <a:p>
            <a:r>
              <a:rPr lang="nl-NL" dirty="0"/>
              <a:t>Wanneer toegepast?</a:t>
            </a:r>
          </a:p>
        </p:txBody>
      </p:sp>
      <p:pic>
        <p:nvPicPr>
          <p:cNvPr id="6" name="Picture 5">
            <a:extLst>
              <a:ext uri="{FF2B5EF4-FFF2-40B4-BE49-F238E27FC236}">
                <a16:creationId xmlns:a16="http://schemas.microsoft.com/office/drawing/2014/main" id="{A163236A-6C94-4293-9904-71D73521CA71}"/>
              </a:ext>
            </a:extLst>
          </p:cNvPr>
          <p:cNvPicPr>
            <a:picLocks noChangeAspect="1"/>
          </p:cNvPicPr>
          <p:nvPr/>
        </p:nvPicPr>
        <p:blipFill>
          <a:blip r:embed="rId3"/>
          <a:stretch>
            <a:fillRect/>
          </a:stretch>
        </p:blipFill>
        <p:spPr>
          <a:xfrm>
            <a:off x="455881" y="1561610"/>
            <a:ext cx="5616449" cy="3145211"/>
          </a:xfrm>
          <a:prstGeom prst="rect">
            <a:avLst/>
          </a:prstGeom>
        </p:spPr>
      </p:pic>
      <p:pic>
        <p:nvPicPr>
          <p:cNvPr id="8" name="Picture 7">
            <a:extLst>
              <a:ext uri="{FF2B5EF4-FFF2-40B4-BE49-F238E27FC236}">
                <a16:creationId xmlns:a16="http://schemas.microsoft.com/office/drawing/2014/main" id="{600979E1-064C-4F71-AB0A-26821F503078}"/>
              </a:ext>
            </a:extLst>
          </p:cNvPr>
          <p:cNvPicPr>
            <a:picLocks noChangeAspect="1"/>
          </p:cNvPicPr>
          <p:nvPr/>
        </p:nvPicPr>
        <p:blipFill>
          <a:blip r:embed="rId4"/>
          <a:stretch>
            <a:fillRect/>
          </a:stretch>
        </p:blipFill>
        <p:spPr>
          <a:xfrm>
            <a:off x="379412" y="4889743"/>
            <a:ext cx="6533912" cy="1857498"/>
          </a:xfrm>
          <a:prstGeom prst="rect">
            <a:avLst/>
          </a:prstGeom>
        </p:spPr>
      </p:pic>
      <p:pic>
        <p:nvPicPr>
          <p:cNvPr id="10" name="Picture 2" descr="Diagram of the principles of retention">
            <a:extLst>
              <a:ext uri="{FF2B5EF4-FFF2-40B4-BE49-F238E27FC236}">
                <a16:creationId xmlns:a16="http://schemas.microsoft.com/office/drawing/2014/main" id="{F04EDA5E-8F03-44EB-AB6F-B180EDE7B7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54867" y="1723154"/>
            <a:ext cx="5011931" cy="281503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7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B77FE-AE0B-4148-9F3B-ED505F9F06EC}"/>
              </a:ext>
            </a:extLst>
          </p:cNvPr>
          <p:cNvSpPr>
            <a:spLocks noGrp="1"/>
          </p:cNvSpPr>
          <p:nvPr>
            <p:ph type="title"/>
          </p:nvPr>
        </p:nvSpPr>
        <p:spPr/>
        <p:txBody>
          <a:bodyPr/>
          <a:lstStyle/>
          <a:p>
            <a:r>
              <a:rPr lang="nl-NL" dirty="0"/>
              <a:t>Data </a:t>
            </a:r>
            <a:r>
              <a:rPr lang="nl-NL" dirty="0" err="1"/>
              <a:t>loss</a:t>
            </a:r>
            <a:r>
              <a:rPr lang="nl-NL" dirty="0"/>
              <a:t> prevention</a:t>
            </a:r>
          </a:p>
        </p:txBody>
      </p:sp>
      <p:sp>
        <p:nvSpPr>
          <p:cNvPr id="3" name="Tijdelijke aanduiding voor inhoud 2">
            <a:extLst>
              <a:ext uri="{FF2B5EF4-FFF2-40B4-BE49-F238E27FC236}">
                <a16:creationId xmlns:a16="http://schemas.microsoft.com/office/drawing/2014/main" id="{C04ED830-7BAD-43C9-A539-5B910FD7C5B9}"/>
              </a:ext>
            </a:extLst>
          </p:cNvPr>
          <p:cNvSpPr>
            <a:spLocks noGrp="1"/>
          </p:cNvSpPr>
          <p:nvPr>
            <p:ph sz="half" idx="1"/>
          </p:nvPr>
        </p:nvSpPr>
        <p:spPr/>
        <p:txBody>
          <a:bodyPr/>
          <a:lstStyle/>
          <a:p>
            <a:pPr>
              <a:buFont typeface="Arial" panose="020B0604020202020204" pitchFamily="34" charset="0"/>
              <a:buChar char="•"/>
            </a:pPr>
            <a:r>
              <a:rPr lang="nl-NL" dirty="0"/>
              <a:t>Condities</a:t>
            </a:r>
          </a:p>
          <a:p>
            <a:pPr lvl="1">
              <a:buFont typeface="Arial" panose="020B0604020202020204" pitchFamily="34" charset="0"/>
              <a:buChar char="•"/>
            </a:pPr>
            <a:r>
              <a:rPr lang="nl-NL" dirty="0"/>
              <a:t>Labels (zie eerder)</a:t>
            </a:r>
          </a:p>
          <a:p>
            <a:pPr lvl="1">
              <a:buFont typeface="Arial" panose="020B0604020202020204" pitchFamily="34" charset="0"/>
              <a:buChar char="•"/>
            </a:pPr>
            <a:r>
              <a:rPr lang="nl-NL" dirty="0"/>
              <a:t>Gevoelige content (PII)</a:t>
            </a:r>
          </a:p>
          <a:p>
            <a:pPr>
              <a:buFont typeface="Arial" panose="020B0604020202020204" pitchFamily="34" charset="0"/>
              <a:buChar char="•"/>
            </a:pPr>
            <a:endParaRPr lang="nl-NL" dirty="0"/>
          </a:p>
          <a:p>
            <a:pPr>
              <a:buFont typeface="Arial" panose="020B0604020202020204" pitchFamily="34" charset="0"/>
              <a:buChar char="•"/>
            </a:pPr>
            <a:r>
              <a:rPr lang="nl-NL" dirty="0"/>
              <a:t>Acties</a:t>
            </a:r>
          </a:p>
          <a:p>
            <a:pPr lvl="1">
              <a:buFont typeface="Arial" panose="020B0604020202020204" pitchFamily="34" charset="0"/>
              <a:buChar char="•"/>
            </a:pPr>
            <a:r>
              <a:rPr lang="nl-NL" dirty="0"/>
              <a:t>Policy tips</a:t>
            </a:r>
          </a:p>
          <a:p>
            <a:pPr lvl="1">
              <a:buFont typeface="Arial" panose="020B0604020202020204" pitchFamily="34" charset="0"/>
              <a:buChar char="•"/>
            </a:pPr>
            <a:r>
              <a:rPr lang="nl-NL" dirty="0"/>
              <a:t>Toegang blokkeren</a:t>
            </a:r>
          </a:p>
          <a:p>
            <a:pPr lvl="1">
              <a:buFont typeface="Arial" panose="020B0604020202020204" pitchFamily="34" charset="0"/>
              <a:buChar char="•"/>
            </a:pPr>
            <a:r>
              <a:rPr lang="nl-NL" dirty="0"/>
              <a:t>Notificeren</a:t>
            </a:r>
          </a:p>
          <a:p>
            <a:pPr lvl="1"/>
            <a:endParaRPr lang="nl-NL" dirty="0"/>
          </a:p>
        </p:txBody>
      </p:sp>
      <p:pic>
        <p:nvPicPr>
          <p:cNvPr id="7" name="Tijdelijke aanduiding voor inhoud 6">
            <a:extLst>
              <a:ext uri="{FF2B5EF4-FFF2-40B4-BE49-F238E27FC236}">
                <a16:creationId xmlns:a16="http://schemas.microsoft.com/office/drawing/2014/main" id="{4FD84265-6058-411A-A0BE-B579B3F29235}"/>
              </a:ext>
            </a:extLst>
          </p:cNvPr>
          <p:cNvPicPr>
            <a:picLocks noGrp="1" noChangeAspect="1"/>
          </p:cNvPicPr>
          <p:nvPr>
            <p:ph sz="half" idx="10"/>
          </p:nvPr>
        </p:nvPicPr>
        <p:blipFill>
          <a:blip r:embed="rId3"/>
          <a:stretch>
            <a:fillRect/>
          </a:stretch>
        </p:blipFill>
        <p:spPr>
          <a:xfrm>
            <a:off x="6334125" y="2236304"/>
            <a:ext cx="5492750" cy="3529980"/>
          </a:xfrm>
          <a:prstGeom prst="rect">
            <a:avLst/>
          </a:prstGeom>
        </p:spPr>
      </p:pic>
    </p:spTree>
    <p:extLst>
      <p:ext uri="{BB962C8B-B14F-4D97-AF65-F5344CB8AC3E}">
        <p14:creationId xmlns:p14="http://schemas.microsoft.com/office/powerpoint/2010/main" val="97118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197" dirty="0"/>
              <a:t>Demo</a:t>
            </a:r>
          </a:p>
        </p:txBody>
      </p:sp>
      <p:pic>
        <p:nvPicPr>
          <p:cNvPr id="3" name="Picture 2" descr="https://images.trvl-media.com/hotels/6000000/5540000/5538400/5538338/5538338_3_z.jpg">
            <a:extLst>
              <a:ext uri="{FF2B5EF4-FFF2-40B4-BE49-F238E27FC236}">
                <a16:creationId xmlns:a16="http://schemas.microsoft.com/office/drawing/2014/main" id="{2D031743-7091-406A-B471-C2837A4838C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139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EB950BB-DC4A-4F6C-9A4B-9E1EFEF33013}"/>
              </a:ext>
            </a:extLst>
          </p:cNvPr>
          <p:cNvGrpSpPr/>
          <p:nvPr/>
        </p:nvGrpSpPr>
        <p:grpSpPr>
          <a:xfrm>
            <a:off x="1938801" y="1996534"/>
            <a:ext cx="8311225" cy="424533"/>
            <a:chOff x="1850349" y="1757168"/>
            <a:chExt cx="8481294" cy="433220"/>
          </a:xfrm>
        </p:grpSpPr>
        <p:cxnSp>
          <p:nvCxnSpPr>
            <p:cNvPr id="4" name="Straight Connector 3">
              <a:extLst>
                <a:ext uri="{FF2B5EF4-FFF2-40B4-BE49-F238E27FC236}">
                  <a16:creationId xmlns:a16="http://schemas.microsoft.com/office/drawing/2014/main" id="{C41D1733-7049-432C-9520-5E0738CA5BED}"/>
                </a:ext>
              </a:extLst>
            </p:cNvPr>
            <p:cNvCxnSpPr/>
            <p:nvPr/>
          </p:nvCxnSpPr>
          <p:spPr>
            <a:xfrm flipV="1">
              <a:off x="1850349" y="1757168"/>
              <a:ext cx="0" cy="43322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D1DB7F4-FB28-4495-B8E6-C115A411ED50}"/>
                </a:ext>
              </a:extLst>
            </p:cNvPr>
            <p:cNvCxnSpPr/>
            <p:nvPr/>
          </p:nvCxnSpPr>
          <p:spPr>
            <a:xfrm flipV="1">
              <a:off x="10331643" y="1757168"/>
              <a:ext cx="0" cy="43322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3D45FF7-9713-41C2-A091-53478A4B3F70}"/>
                </a:ext>
              </a:extLst>
            </p:cNvPr>
            <p:cNvCxnSpPr>
              <a:cxnSpLocks/>
            </p:cNvCxnSpPr>
            <p:nvPr/>
          </p:nvCxnSpPr>
          <p:spPr>
            <a:xfrm>
              <a:off x="1850349" y="1757168"/>
              <a:ext cx="8481294"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383E6CFF-BC86-4A0C-8202-060EFA04018A}"/>
              </a:ext>
            </a:extLst>
          </p:cNvPr>
          <p:cNvSpPr txBox="1">
            <a:spLocks/>
          </p:cNvSpPr>
          <p:nvPr/>
        </p:nvSpPr>
        <p:spPr>
          <a:xfrm>
            <a:off x="448898" y="335578"/>
            <a:ext cx="9993064" cy="550733"/>
          </a:xfrm>
          <a:prstGeom prst="rect">
            <a:avLst/>
          </a:prstGeom>
          <a:noFill/>
          <a:ln>
            <a:noFill/>
          </a:ln>
        </p:spPr>
        <p:txBody>
          <a:bodyPr vert="horz" wrap="square" lIns="0" tIns="89606" rIns="0" bIns="89606"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121">
              <a:defRPr/>
            </a:pPr>
            <a:endParaRPr lang="en-US" sz="2744" b="1" dirty="0">
              <a:solidFill>
                <a:srgbClr val="505050"/>
              </a:solidFill>
            </a:endParaRPr>
          </a:p>
        </p:txBody>
      </p:sp>
      <p:sp>
        <p:nvSpPr>
          <p:cNvPr id="35" name="Oval 34">
            <a:extLst>
              <a:ext uri="{FF2B5EF4-FFF2-40B4-BE49-F238E27FC236}">
                <a16:creationId xmlns:a16="http://schemas.microsoft.com/office/drawing/2014/main" id="{F6B25805-2EC1-434B-83EA-7746A635B0BD}"/>
              </a:ext>
            </a:extLst>
          </p:cNvPr>
          <p:cNvSpPr/>
          <p:nvPr/>
        </p:nvSpPr>
        <p:spPr bwMode="auto">
          <a:xfrm>
            <a:off x="1166248" y="2703937"/>
            <a:ext cx="1295727" cy="1295727"/>
          </a:xfrm>
          <a:prstGeom prst="ellipse">
            <a:avLst/>
          </a:prstGeom>
          <a:solidFill>
            <a:schemeClr val="tx2"/>
          </a:solidFill>
          <a:ln w="762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665" tIns="140533" rIns="175665" bIns="140533" numCol="1" spcCol="0" rtlCol="0" fromWordArt="0" anchor="t" anchorCtr="0" forceAA="0" compatLnSpc="1">
            <a:prstTxWarp prst="textNoShape">
              <a:avLst/>
            </a:prstTxWarp>
            <a:noAutofit/>
          </a:bodyPr>
          <a:lstStyle/>
          <a:p>
            <a:pPr algn="ctr" defTabSz="895680" fontAlgn="base">
              <a:lnSpc>
                <a:spcPct val="90000"/>
              </a:lnSpc>
              <a:spcBef>
                <a:spcPct val="0"/>
              </a:spcBef>
              <a:spcAft>
                <a:spcPct val="0"/>
              </a:spcAft>
              <a:defRPr/>
            </a:pPr>
            <a:endParaRPr lang="en-US" sz="529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5C2969D3-2526-43BA-A1F0-9A5B1DADCEF2}"/>
              </a:ext>
            </a:extLst>
          </p:cNvPr>
          <p:cNvSpPr txBox="1"/>
          <p:nvPr/>
        </p:nvSpPr>
        <p:spPr>
          <a:xfrm>
            <a:off x="514817" y="4129045"/>
            <a:ext cx="2598586" cy="716851"/>
          </a:xfrm>
          <a:prstGeom prst="rect">
            <a:avLst/>
          </a:prstGeom>
          <a:noFill/>
        </p:spPr>
        <p:txBody>
          <a:bodyPr wrap="square" lIns="89606" tIns="143369" rIns="89606" bIns="143369" rtlCol="0">
            <a:noAutofit/>
          </a:bodyPr>
          <a:lstStyle/>
          <a:p>
            <a:pPr algn="ctr" defTabSz="914121">
              <a:lnSpc>
                <a:spcPct val="90000"/>
              </a:lnSpc>
              <a:spcAft>
                <a:spcPts val="588"/>
              </a:spcAft>
              <a:defRPr/>
            </a:pPr>
            <a:r>
              <a:rPr lang="en-US" sz="1960" dirty="0">
                <a:solidFill>
                  <a:srgbClr val="505050"/>
                </a:solidFill>
                <a:latin typeface="Segoe UI Semibold" panose="020B0702040204020203" pitchFamily="34" charset="0"/>
                <a:cs typeface="Segoe UI Semibold" panose="020B0702040204020203" pitchFamily="34" charset="0"/>
              </a:rPr>
              <a:t>Detect</a:t>
            </a:r>
          </a:p>
        </p:txBody>
      </p:sp>
      <p:sp>
        <p:nvSpPr>
          <p:cNvPr id="34" name="TextBox 33">
            <a:extLst>
              <a:ext uri="{FF2B5EF4-FFF2-40B4-BE49-F238E27FC236}">
                <a16:creationId xmlns:a16="http://schemas.microsoft.com/office/drawing/2014/main" id="{80B71F20-0C6A-4CDC-8838-833B78091643}"/>
              </a:ext>
            </a:extLst>
          </p:cNvPr>
          <p:cNvSpPr txBox="1"/>
          <p:nvPr/>
        </p:nvSpPr>
        <p:spPr>
          <a:xfrm>
            <a:off x="514817" y="4870716"/>
            <a:ext cx="2598586" cy="723660"/>
          </a:xfrm>
          <a:prstGeom prst="rect">
            <a:avLst/>
          </a:prstGeom>
          <a:noFill/>
        </p:spPr>
        <p:txBody>
          <a:bodyPr wrap="square" lIns="89606" tIns="143369" rIns="89606" bIns="143369" rtlCol="0">
            <a:spAutoFit/>
          </a:bodyPr>
          <a:lstStyle/>
          <a:p>
            <a:pPr algn="ctr" defTabSz="914121">
              <a:lnSpc>
                <a:spcPct val="90000"/>
              </a:lnSpc>
              <a:spcAft>
                <a:spcPts val="588"/>
              </a:spcAft>
              <a:defRPr/>
            </a:pPr>
            <a:r>
              <a:rPr lang="en-US" sz="1567" dirty="0">
                <a:solidFill>
                  <a:srgbClr val="505050"/>
                </a:solidFill>
                <a:latin typeface="Segoe UI"/>
              </a:rPr>
              <a:t>Scan &amp; detect sensitive data based on policy</a:t>
            </a:r>
          </a:p>
        </p:txBody>
      </p:sp>
      <p:sp>
        <p:nvSpPr>
          <p:cNvPr id="44" name="Oval 43">
            <a:extLst>
              <a:ext uri="{FF2B5EF4-FFF2-40B4-BE49-F238E27FC236}">
                <a16:creationId xmlns:a16="http://schemas.microsoft.com/office/drawing/2014/main" id="{4585F3A1-8640-4F99-AB07-092B98561A75}"/>
              </a:ext>
            </a:extLst>
          </p:cNvPr>
          <p:cNvSpPr/>
          <p:nvPr/>
        </p:nvSpPr>
        <p:spPr bwMode="auto">
          <a:xfrm>
            <a:off x="3900161" y="2703937"/>
            <a:ext cx="1295727" cy="1295727"/>
          </a:xfrm>
          <a:prstGeom prst="ellipse">
            <a:avLst/>
          </a:prstGeom>
          <a:solidFill>
            <a:schemeClr val="tx2"/>
          </a:solidFill>
          <a:ln w="762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665" tIns="140533" rIns="175665" bIns="140533" numCol="1" spcCol="0" rtlCol="0" fromWordArt="0" anchor="t" anchorCtr="0" forceAA="0" compatLnSpc="1">
            <a:prstTxWarp prst="textNoShape">
              <a:avLst/>
            </a:prstTxWarp>
            <a:noAutofit/>
          </a:bodyPr>
          <a:lstStyle/>
          <a:p>
            <a:pPr algn="ctr" defTabSz="895680" fontAlgn="base">
              <a:lnSpc>
                <a:spcPct val="90000"/>
              </a:lnSpc>
              <a:spcBef>
                <a:spcPct val="0"/>
              </a:spcBef>
              <a:spcAft>
                <a:spcPct val="0"/>
              </a:spcAft>
              <a:defRPr/>
            </a:pPr>
            <a:endParaRPr lang="en-US" sz="529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26E47206-9F04-49A8-A7B6-0B603B91E791}"/>
              </a:ext>
            </a:extLst>
          </p:cNvPr>
          <p:cNvSpPr txBox="1"/>
          <p:nvPr/>
        </p:nvSpPr>
        <p:spPr>
          <a:xfrm>
            <a:off x="3248730" y="4129045"/>
            <a:ext cx="2598586" cy="716851"/>
          </a:xfrm>
          <a:prstGeom prst="rect">
            <a:avLst/>
          </a:prstGeom>
          <a:noFill/>
        </p:spPr>
        <p:txBody>
          <a:bodyPr wrap="square" lIns="89606" tIns="143369" rIns="89606" bIns="143369" rtlCol="0">
            <a:noAutofit/>
          </a:bodyPr>
          <a:lstStyle/>
          <a:p>
            <a:pPr algn="ctr" defTabSz="914121">
              <a:lnSpc>
                <a:spcPct val="90000"/>
              </a:lnSpc>
              <a:spcAft>
                <a:spcPts val="588"/>
              </a:spcAft>
              <a:defRPr/>
            </a:pPr>
            <a:r>
              <a:rPr lang="en-US" sz="1960" dirty="0">
                <a:solidFill>
                  <a:srgbClr val="505050"/>
                </a:solidFill>
                <a:latin typeface="Segoe UI Semibold" panose="020B0702040204020203" pitchFamily="34" charset="0"/>
                <a:cs typeface="Segoe UI Semibold" panose="020B0702040204020203" pitchFamily="34" charset="0"/>
              </a:rPr>
              <a:t>Classify</a:t>
            </a:r>
          </a:p>
        </p:txBody>
      </p:sp>
      <p:sp>
        <p:nvSpPr>
          <p:cNvPr id="43" name="TextBox 42">
            <a:extLst>
              <a:ext uri="{FF2B5EF4-FFF2-40B4-BE49-F238E27FC236}">
                <a16:creationId xmlns:a16="http://schemas.microsoft.com/office/drawing/2014/main" id="{5F39E249-D743-47D3-8CF5-A11E8BA1D8C7}"/>
              </a:ext>
            </a:extLst>
          </p:cNvPr>
          <p:cNvSpPr txBox="1"/>
          <p:nvPr/>
        </p:nvSpPr>
        <p:spPr>
          <a:xfrm>
            <a:off x="3248730" y="4870716"/>
            <a:ext cx="2598586" cy="723660"/>
          </a:xfrm>
          <a:prstGeom prst="rect">
            <a:avLst/>
          </a:prstGeom>
          <a:noFill/>
        </p:spPr>
        <p:txBody>
          <a:bodyPr wrap="square" lIns="89606" tIns="143369" rIns="89606" bIns="143369" rtlCol="0">
            <a:spAutoFit/>
          </a:bodyPr>
          <a:lstStyle/>
          <a:p>
            <a:pPr algn="ctr" defTabSz="914121">
              <a:lnSpc>
                <a:spcPct val="90000"/>
              </a:lnSpc>
              <a:spcAft>
                <a:spcPts val="588"/>
              </a:spcAft>
              <a:defRPr/>
            </a:pPr>
            <a:r>
              <a:rPr lang="en-US" sz="1567" dirty="0">
                <a:solidFill>
                  <a:srgbClr val="505050"/>
                </a:solidFill>
                <a:latin typeface="Segoe UI"/>
              </a:rPr>
              <a:t>Classify data and apply labels based on sensitivity</a:t>
            </a:r>
          </a:p>
        </p:txBody>
      </p:sp>
      <p:sp>
        <p:nvSpPr>
          <p:cNvPr id="51" name="Oval 50">
            <a:extLst>
              <a:ext uri="{FF2B5EF4-FFF2-40B4-BE49-F238E27FC236}">
                <a16:creationId xmlns:a16="http://schemas.microsoft.com/office/drawing/2014/main" id="{E5FB13FD-232D-4C79-A688-E629A0FA536A}"/>
              </a:ext>
            </a:extLst>
          </p:cNvPr>
          <p:cNvSpPr/>
          <p:nvPr/>
        </p:nvSpPr>
        <p:spPr bwMode="auto">
          <a:xfrm>
            <a:off x="6634074" y="2703937"/>
            <a:ext cx="1295727" cy="1295727"/>
          </a:xfrm>
          <a:prstGeom prst="ellipse">
            <a:avLst/>
          </a:prstGeom>
          <a:solidFill>
            <a:schemeClr val="tx2"/>
          </a:solidFill>
          <a:ln w="762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665" tIns="140533" rIns="175665" bIns="140533" numCol="1" spcCol="0" rtlCol="0" fromWordArt="0" anchor="t" anchorCtr="0" forceAA="0" compatLnSpc="1">
            <a:prstTxWarp prst="textNoShape">
              <a:avLst/>
            </a:prstTxWarp>
            <a:noAutofit/>
          </a:bodyPr>
          <a:lstStyle/>
          <a:p>
            <a:pPr algn="ctr" defTabSz="895680" fontAlgn="base">
              <a:lnSpc>
                <a:spcPct val="90000"/>
              </a:lnSpc>
              <a:spcBef>
                <a:spcPct val="0"/>
              </a:spcBef>
              <a:spcAft>
                <a:spcPct val="0"/>
              </a:spcAft>
              <a:defRPr/>
            </a:pPr>
            <a:endParaRPr lang="en-US" sz="529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A2E55263-E2AD-4AC8-906B-5D6667D56B4B}"/>
              </a:ext>
            </a:extLst>
          </p:cNvPr>
          <p:cNvSpPr txBox="1"/>
          <p:nvPr/>
        </p:nvSpPr>
        <p:spPr>
          <a:xfrm>
            <a:off x="5982644" y="4129045"/>
            <a:ext cx="2598586" cy="716851"/>
          </a:xfrm>
          <a:prstGeom prst="rect">
            <a:avLst/>
          </a:prstGeom>
          <a:noFill/>
        </p:spPr>
        <p:txBody>
          <a:bodyPr wrap="square" lIns="89606" tIns="143369" rIns="89606" bIns="143369" rtlCol="0">
            <a:noAutofit/>
          </a:bodyPr>
          <a:lstStyle/>
          <a:p>
            <a:pPr algn="ctr" defTabSz="914121">
              <a:lnSpc>
                <a:spcPct val="90000"/>
              </a:lnSpc>
              <a:spcAft>
                <a:spcPts val="588"/>
              </a:spcAft>
              <a:defRPr/>
            </a:pPr>
            <a:r>
              <a:rPr lang="en-US" sz="1960" dirty="0">
                <a:solidFill>
                  <a:srgbClr val="505050"/>
                </a:solidFill>
                <a:latin typeface="Segoe UI Semibold" panose="020B0702040204020203" pitchFamily="34" charset="0"/>
                <a:cs typeface="Segoe UI Semibold" panose="020B0702040204020203" pitchFamily="34" charset="0"/>
              </a:rPr>
              <a:t>Protect</a:t>
            </a:r>
          </a:p>
        </p:txBody>
      </p:sp>
      <p:sp>
        <p:nvSpPr>
          <p:cNvPr id="50" name="TextBox 49">
            <a:extLst>
              <a:ext uri="{FF2B5EF4-FFF2-40B4-BE49-F238E27FC236}">
                <a16:creationId xmlns:a16="http://schemas.microsoft.com/office/drawing/2014/main" id="{88E2CFD9-2C83-4A62-BAD8-F53B3FFC0101}"/>
              </a:ext>
            </a:extLst>
          </p:cNvPr>
          <p:cNvSpPr txBox="1"/>
          <p:nvPr/>
        </p:nvSpPr>
        <p:spPr>
          <a:xfrm>
            <a:off x="5982644" y="4870716"/>
            <a:ext cx="2598586" cy="940721"/>
          </a:xfrm>
          <a:prstGeom prst="rect">
            <a:avLst/>
          </a:prstGeom>
          <a:noFill/>
        </p:spPr>
        <p:txBody>
          <a:bodyPr wrap="square" lIns="89606" tIns="143369" rIns="89606" bIns="143369" rtlCol="0">
            <a:spAutoFit/>
          </a:bodyPr>
          <a:lstStyle/>
          <a:p>
            <a:pPr algn="ctr" defTabSz="914121">
              <a:lnSpc>
                <a:spcPct val="90000"/>
              </a:lnSpc>
              <a:spcAft>
                <a:spcPts val="588"/>
              </a:spcAft>
              <a:defRPr/>
            </a:pPr>
            <a:r>
              <a:rPr lang="en-US" sz="1567" dirty="0">
                <a:solidFill>
                  <a:srgbClr val="505050"/>
                </a:solidFill>
                <a:latin typeface="Segoe UI"/>
              </a:rPr>
              <a:t>Apply protection actions, including encryption, access restrictions</a:t>
            </a:r>
          </a:p>
        </p:txBody>
      </p:sp>
      <p:sp>
        <p:nvSpPr>
          <p:cNvPr id="57" name="Oval 56">
            <a:extLst>
              <a:ext uri="{FF2B5EF4-FFF2-40B4-BE49-F238E27FC236}">
                <a16:creationId xmlns:a16="http://schemas.microsoft.com/office/drawing/2014/main" id="{8382AAD8-825B-474E-B455-0E1C47E8C545}"/>
              </a:ext>
            </a:extLst>
          </p:cNvPr>
          <p:cNvSpPr/>
          <p:nvPr/>
        </p:nvSpPr>
        <p:spPr bwMode="auto">
          <a:xfrm>
            <a:off x="9441576" y="2703937"/>
            <a:ext cx="1295727" cy="1295727"/>
          </a:xfrm>
          <a:prstGeom prst="ellipse">
            <a:avLst/>
          </a:prstGeom>
          <a:solidFill>
            <a:schemeClr val="tx2"/>
          </a:solidFill>
          <a:ln w="7620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665" tIns="140533" rIns="175665" bIns="140533" numCol="1" spcCol="0" rtlCol="0" fromWordArt="0" anchor="t" anchorCtr="0" forceAA="0" compatLnSpc="1">
            <a:prstTxWarp prst="textNoShape">
              <a:avLst/>
            </a:prstTxWarp>
            <a:noAutofit/>
          </a:bodyPr>
          <a:lstStyle/>
          <a:p>
            <a:pPr algn="ctr" defTabSz="895680" fontAlgn="base">
              <a:lnSpc>
                <a:spcPct val="90000"/>
              </a:lnSpc>
              <a:spcBef>
                <a:spcPct val="0"/>
              </a:spcBef>
              <a:spcAft>
                <a:spcPct val="0"/>
              </a:spcAft>
              <a:defRPr/>
            </a:pPr>
            <a:endParaRPr lang="en-US" sz="529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TextBox 54">
            <a:extLst>
              <a:ext uri="{FF2B5EF4-FFF2-40B4-BE49-F238E27FC236}">
                <a16:creationId xmlns:a16="http://schemas.microsoft.com/office/drawing/2014/main" id="{BE26B524-5E80-4166-87FA-3E876EDDC470}"/>
              </a:ext>
            </a:extLst>
          </p:cNvPr>
          <p:cNvSpPr txBox="1"/>
          <p:nvPr/>
        </p:nvSpPr>
        <p:spPr>
          <a:xfrm>
            <a:off x="8790146" y="4129045"/>
            <a:ext cx="2598586" cy="716851"/>
          </a:xfrm>
          <a:prstGeom prst="rect">
            <a:avLst/>
          </a:prstGeom>
          <a:noFill/>
        </p:spPr>
        <p:txBody>
          <a:bodyPr wrap="square" lIns="89606" tIns="143369" rIns="89606" bIns="143369" rtlCol="0">
            <a:noAutofit/>
          </a:bodyPr>
          <a:lstStyle/>
          <a:p>
            <a:pPr algn="ctr" defTabSz="914121">
              <a:lnSpc>
                <a:spcPct val="90000"/>
              </a:lnSpc>
              <a:spcAft>
                <a:spcPts val="588"/>
              </a:spcAft>
              <a:defRPr/>
            </a:pPr>
            <a:r>
              <a:rPr lang="en-US" sz="1960" dirty="0">
                <a:solidFill>
                  <a:srgbClr val="505050"/>
                </a:solidFill>
                <a:latin typeface="Segoe UI Semibold" panose="020B0702040204020203" pitchFamily="34" charset="0"/>
                <a:cs typeface="Segoe UI Semibold" panose="020B0702040204020203" pitchFamily="34" charset="0"/>
              </a:rPr>
              <a:t>Monitor</a:t>
            </a:r>
          </a:p>
        </p:txBody>
      </p:sp>
      <p:sp>
        <p:nvSpPr>
          <p:cNvPr id="56" name="TextBox 55">
            <a:extLst>
              <a:ext uri="{FF2B5EF4-FFF2-40B4-BE49-F238E27FC236}">
                <a16:creationId xmlns:a16="http://schemas.microsoft.com/office/drawing/2014/main" id="{B48C5F16-4E51-4C05-8307-1AB7C0CCDE24}"/>
              </a:ext>
            </a:extLst>
          </p:cNvPr>
          <p:cNvSpPr txBox="1"/>
          <p:nvPr/>
        </p:nvSpPr>
        <p:spPr>
          <a:xfrm>
            <a:off x="8716556" y="4870719"/>
            <a:ext cx="2745767" cy="723631"/>
          </a:xfrm>
          <a:prstGeom prst="rect">
            <a:avLst/>
          </a:prstGeom>
          <a:noFill/>
        </p:spPr>
        <p:txBody>
          <a:bodyPr wrap="square" lIns="89606" tIns="143369" rIns="89606" bIns="143369" rtlCol="0">
            <a:spAutoFit/>
          </a:bodyPr>
          <a:lstStyle/>
          <a:p>
            <a:pPr algn="ctr" defTabSz="914121">
              <a:lnSpc>
                <a:spcPct val="90000"/>
              </a:lnSpc>
              <a:spcAft>
                <a:spcPts val="588"/>
              </a:spcAft>
              <a:defRPr/>
            </a:pPr>
            <a:r>
              <a:rPr lang="en-US" sz="1567" dirty="0">
                <a:solidFill>
                  <a:srgbClr val="505050"/>
                </a:solidFill>
                <a:latin typeface="Segoe UI"/>
              </a:rPr>
              <a:t>Reporting, alerts, remediation</a:t>
            </a:r>
          </a:p>
        </p:txBody>
      </p:sp>
      <p:grpSp>
        <p:nvGrpSpPr>
          <p:cNvPr id="59" name="Group 58">
            <a:extLst>
              <a:ext uri="{FF2B5EF4-FFF2-40B4-BE49-F238E27FC236}">
                <a16:creationId xmlns:a16="http://schemas.microsoft.com/office/drawing/2014/main" id="{679780A8-7BB3-4032-A2D2-4591DA0F8DA8}"/>
              </a:ext>
            </a:extLst>
          </p:cNvPr>
          <p:cNvGrpSpPr/>
          <p:nvPr/>
        </p:nvGrpSpPr>
        <p:grpSpPr>
          <a:xfrm flipH="1">
            <a:off x="1491810" y="3045239"/>
            <a:ext cx="644602" cy="502071"/>
            <a:chOff x="1790537" y="4477537"/>
            <a:chExt cx="957883" cy="746082"/>
          </a:xfrm>
          <a:solidFill>
            <a:schemeClr val="bg1"/>
          </a:solidFill>
        </p:grpSpPr>
        <p:sp>
          <p:nvSpPr>
            <p:cNvPr id="60" name="Freeform 1">
              <a:extLst>
                <a:ext uri="{FF2B5EF4-FFF2-40B4-BE49-F238E27FC236}">
                  <a16:creationId xmlns:a16="http://schemas.microsoft.com/office/drawing/2014/main" id="{27CFBEDA-1261-41B8-9BBF-2E79DDAC68DA}"/>
                </a:ext>
              </a:extLst>
            </p:cNvPr>
            <p:cNvSpPr>
              <a:spLocks noChangeArrowheads="1"/>
            </p:cNvSpPr>
            <p:nvPr/>
          </p:nvSpPr>
          <p:spPr bwMode="auto">
            <a:xfrm rot="18640519">
              <a:off x="1789441" y="4478633"/>
              <a:ext cx="675186" cy="672993"/>
            </a:xfrm>
            <a:custGeom>
              <a:avLst/>
              <a:gdLst>
                <a:gd name="T0" fmla="*/ 680 w 1361"/>
                <a:gd name="T1" fmla="*/ 1358 h 1359"/>
                <a:gd name="T2" fmla="*/ 0 w 1361"/>
                <a:gd name="T3" fmla="*/ 679 h 1359"/>
                <a:gd name="T4" fmla="*/ 680 w 1361"/>
                <a:gd name="T5" fmla="*/ 0 h 1359"/>
                <a:gd name="T6" fmla="*/ 1360 w 1361"/>
                <a:gd name="T7" fmla="*/ 679 h 1359"/>
                <a:gd name="T8" fmla="*/ 680 w 1361"/>
                <a:gd name="T9" fmla="*/ 1358 h 1359"/>
                <a:gd name="T10" fmla="*/ 680 w 1361"/>
                <a:gd name="T11" fmla="*/ 87 h 1359"/>
                <a:gd name="T12" fmla="*/ 85 w 1361"/>
                <a:gd name="T13" fmla="*/ 682 h 1359"/>
                <a:gd name="T14" fmla="*/ 680 w 1361"/>
                <a:gd name="T15" fmla="*/ 1277 h 1359"/>
                <a:gd name="T16" fmla="*/ 1276 w 1361"/>
                <a:gd name="T17" fmla="*/ 682 h 1359"/>
                <a:gd name="T18" fmla="*/ 680 w 1361"/>
                <a:gd name="T19" fmla="*/ 87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1" h="1359">
                  <a:moveTo>
                    <a:pt x="680" y="1358"/>
                  </a:moveTo>
                  <a:cubicBezTo>
                    <a:pt x="305" y="1358"/>
                    <a:pt x="0" y="1054"/>
                    <a:pt x="0" y="679"/>
                  </a:cubicBezTo>
                  <a:cubicBezTo>
                    <a:pt x="0" y="303"/>
                    <a:pt x="305" y="0"/>
                    <a:pt x="680" y="0"/>
                  </a:cubicBezTo>
                  <a:cubicBezTo>
                    <a:pt x="1056" y="0"/>
                    <a:pt x="1360" y="303"/>
                    <a:pt x="1360" y="679"/>
                  </a:cubicBezTo>
                  <a:cubicBezTo>
                    <a:pt x="1360" y="1054"/>
                    <a:pt x="1056" y="1358"/>
                    <a:pt x="680" y="1358"/>
                  </a:cubicBezTo>
                  <a:close/>
                  <a:moveTo>
                    <a:pt x="680" y="87"/>
                  </a:moveTo>
                  <a:cubicBezTo>
                    <a:pt x="353" y="87"/>
                    <a:pt x="85" y="354"/>
                    <a:pt x="85" y="682"/>
                  </a:cubicBezTo>
                  <a:cubicBezTo>
                    <a:pt x="85" y="1009"/>
                    <a:pt x="353" y="1277"/>
                    <a:pt x="680" y="1277"/>
                  </a:cubicBezTo>
                  <a:cubicBezTo>
                    <a:pt x="1008" y="1277"/>
                    <a:pt x="1276" y="1009"/>
                    <a:pt x="1276" y="682"/>
                  </a:cubicBezTo>
                  <a:cubicBezTo>
                    <a:pt x="1276" y="354"/>
                    <a:pt x="1011" y="87"/>
                    <a:pt x="680" y="87"/>
                  </a:cubicBezTo>
                  <a:close/>
                </a:path>
              </a:pathLst>
            </a:custGeom>
            <a:grpFill/>
            <a:ln>
              <a:noFill/>
            </a:ln>
            <a:effectLst/>
            <a:extLst/>
          </p:spPr>
          <p:txBody>
            <a:bodyPr wrap="none" anchor="ctr"/>
            <a:lstStyle/>
            <a:p>
              <a:pPr defTabSz="932167">
                <a:defRPr/>
              </a:pPr>
              <a:endParaRPr lang="en-US" sz="1836" kern="0">
                <a:solidFill>
                  <a:sysClr val="windowText" lastClr="000000"/>
                </a:solidFill>
                <a:latin typeface="Segoe UI"/>
              </a:endParaRPr>
            </a:p>
          </p:txBody>
        </p:sp>
        <p:sp>
          <p:nvSpPr>
            <p:cNvPr id="61" name="Freeform 2">
              <a:extLst>
                <a:ext uri="{FF2B5EF4-FFF2-40B4-BE49-F238E27FC236}">
                  <a16:creationId xmlns:a16="http://schemas.microsoft.com/office/drawing/2014/main" id="{B776714B-0BBC-498E-B09D-A449496A1805}"/>
                </a:ext>
              </a:extLst>
            </p:cNvPr>
            <p:cNvSpPr>
              <a:spLocks noChangeArrowheads="1"/>
            </p:cNvSpPr>
            <p:nvPr/>
          </p:nvSpPr>
          <p:spPr bwMode="auto">
            <a:xfrm rot="18640519">
              <a:off x="2453440" y="4928638"/>
              <a:ext cx="137658" cy="452303"/>
            </a:xfrm>
            <a:custGeom>
              <a:avLst/>
              <a:gdLst>
                <a:gd name="T0" fmla="*/ 138 w 280"/>
                <a:gd name="T1" fmla="*/ 914 h 915"/>
                <a:gd name="T2" fmla="*/ 0 w 280"/>
                <a:gd name="T3" fmla="*/ 776 h 915"/>
                <a:gd name="T4" fmla="*/ 0 w 280"/>
                <a:gd name="T5" fmla="*/ 42 h 915"/>
                <a:gd name="T6" fmla="*/ 42 w 280"/>
                <a:gd name="T7" fmla="*/ 0 h 915"/>
                <a:gd name="T8" fmla="*/ 85 w 280"/>
                <a:gd name="T9" fmla="*/ 42 h 915"/>
                <a:gd name="T10" fmla="*/ 85 w 280"/>
                <a:gd name="T11" fmla="*/ 776 h 915"/>
                <a:gd name="T12" fmla="*/ 138 w 280"/>
                <a:gd name="T13" fmla="*/ 829 h 915"/>
                <a:gd name="T14" fmla="*/ 192 w 280"/>
                <a:gd name="T15" fmla="*/ 776 h 915"/>
                <a:gd name="T16" fmla="*/ 192 w 280"/>
                <a:gd name="T17" fmla="*/ 42 h 915"/>
                <a:gd name="T18" fmla="*/ 234 w 280"/>
                <a:gd name="T19" fmla="*/ 0 h 915"/>
                <a:gd name="T20" fmla="*/ 277 w 280"/>
                <a:gd name="T21" fmla="*/ 42 h 915"/>
                <a:gd name="T22" fmla="*/ 277 w 280"/>
                <a:gd name="T23" fmla="*/ 776 h 915"/>
                <a:gd name="T24" fmla="*/ 138 w 280"/>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915">
                  <a:moveTo>
                    <a:pt x="138" y="914"/>
                  </a:moveTo>
                  <a:cubicBezTo>
                    <a:pt x="62" y="914"/>
                    <a:pt x="0" y="852"/>
                    <a:pt x="0" y="776"/>
                  </a:cubicBezTo>
                  <a:lnTo>
                    <a:pt x="0" y="42"/>
                  </a:lnTo>
                  <a:cubicBezTo>
                    <a:pt x="0" y="19"/>
                    <a:pt x="20" y="0"/>
                    <a:pt x="42" y="0"/>
                  </a:cubicBezTo>
                  <a:cubicBezTo>
                    <a:pt x="65" y="0"/>
                    <a:pt x="85" y="19"/>
                    <a:pt x="85" y="42"/>
                  </a:cubicBezTo>
                  <a:lnTo>
                    <a:pt x="85" y="776"/>
                  </a:lnTo>
                  <a:cubicBezTo>
                    <a:pt x="85" y="807"/>
                    <a:pt x="110" y="829"/>
                    <a:pt x="138" y="829"/>
                  </a:cubicBezTo>
                  <a:cubicBezTo>
                    <a:pt x="167" y="829"/>
                    <a:pt x="192" y="804"/>
                    <a:pt x="192" y="776"/>
                  </a:cubicBezTo>
                  <a:lnTo>
                    <a:pt x="192" y="42"/>
                  </a:lnTo>
                  <a:cubicBezTo>
                    <a:pt x="192" y="19"/>
                    <a:pt x="212" y="0"/>
                    <a:pt x="234" y="0"/>
                  </a:cubicBezTo>
                  <a:cubicBezTo>
                    <a:pt x="257" y="0"/>
                    <a:pt x="277" y="19"/>
                    <a:pt x="277" y="42"/>
                  </a:cubicBezTo>
                  <a:lnTo>
                    <a:pt x="277" y="776"/>
                  </a:lnTo>
                  <a:cubicBezTo>
                    <a:pt x="279" y="849"/>
                    <a:pt x="215" y="914"/>
                    <a:pt x="138" y="914"/>
                  </a:cubicBezTo>
                </a:path>
              </a:pathLst>
            </a:custGeom>
            <a:grpFill/>
            <a:ln>
              <a:noFill/>
            </a:ln>
            <a:effectLst/>
            <a:extLst/>
          </p:spPr>
          <p:txBody>
            <a:bodyPr wrap="none" anchor="ctr"/>
            <a:lstStyle/>
            <a:p>
              <a:pPr defTabSz="932167">
                <a:defRPr/>
              </a:pPr>
              <a:endParaRPr lang="en-US" sz="1836" kern="0">
                <a:solidFill>
                  <a:sysClr val="windowText" lastClr="000000"/>
                </a:solidFill>
                <a:latin typeface="Segoe UI"/>
              </a:endParaRPr>
            </a:p>
          </p:txBody>
        </p:sp>
      </p:grpSp>
      <p:grpSp>
        <p:nvGrpSpPr>
          <p:cNvPr id="62" name="Group 61">
            <a:extLst>
              <a:ext uri="{FF2B5EF4-FFF2-40B4-BE49-F238E27FC236}">
                <a16:creationId xmlns:a16="http://schemas.microsoft.com/office/drawing/2014/main" id="{510AE215-A140-45E8-9A77-F5E9259794EF}"/>
              </a:ext>
            </a:extLst>
          </p:cNvPr>
          <p:cNvGrpSpPr/>
          <p:nvPr/>
        </p:nvGrpSpPr>
        <p:grpSpPr>
          <a:xfrm>
            <a:off x="6968599" y="3086715"/>
            <a:ext cx="626677" cy="670966"/>
            <a:chOff x="2974460" y="2070859"/>
            <a:chExt cx="227410" cy="243482"/>
          </a:xfrm>
          <a:solidFill>
            <a:schemeClr val="bg1"/>
          </a:solidFill>
        </p:grpSpPr>
        <p:sp>
          <p:nvSpPr>
            <p:cNvPr id="69" name="Rectangle 2042">
              <a:extLst>
                <a:ext uri="{FF2B5EF4-FFF2-40B4-BE49-F238E27FC236}">
                  <a16:creationId xmlns:a16="http://schemas.microsoft.com/office/drawing/2014/main" id="{0A9F603A-2313-4105-9BC2-C7FCEA6976A2}"/>
                </a:ext>
              </a:extLst>
            </p:cNvPr>
            <p:cNvSpPr>
              <a:spLocks noChangeArrowheads="1"/>
            </p:cNvSpPr>
            <p:nvPr/>
          </p:nvSpPr>
          <p:spPr bwMode="auto">
            <a:xfrm>
              <a:off x="3080532" y="2238001"/>
              <a:ext cx="15268" cy="15268"/>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74" name="Rectangle 2043">
              <a:extLst>
                <a:ext uri="{FF2B5EF4-FFF2-40B4-BE49-F238E27FC236}">
                  <a16:creationId xmlns:a16="http://schemas.microsoft.com/office/drawing/2014/main" id="{8DDFE1D5-369A-41CA-99A6-610F7EA7411C}"/>
                </a:ext>
              </a:extLst>
            </p:cNvPr>
            <p:cNvSpPr>
              <a:spLocks noChangeArrowheads="1"/>
            </p:cNvSpPr>
            <p:nvPr/>
          </p:nvSpPr>
          <p:spPr bwMode="auto">
            <a:xfrm>
              <a:off x="3080532" y="2116662"/>
              <a:ext cx="15268" cy="106071"/>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76" name="Freeform 2044">
              <a:extLst>
                <a:ext uri="{FF2B5EF4-FFF2-40B4-BE49-F238E27FC236}">
                  <a16:creationId xmlns:a16="http://schemas.microsoft.com/office/drawing/2014/main" id="{5A263C97-F037-47A6-A0A4-4ACC2018DE89}"/>
                </a:ext>
              </a:extLst>
            </p:cNvPr>
            <p:cNvSpPr>
              <a:spLocks noEditPoints="1"/>
            </p:cNvSpPr>
            <p:nvPr/>
          </p:nvSpPr>
          <p:spPr bwMode="auto">
            <a:xfrm>
              <a:off x="2974460" y="2070859"/>
              <a:ext cx="227410" cy="243482"/>
            </a:xfrm>
            <a:custGeom>
              <a:avLst/>
              <a:gdLst>
                <a:gd name="T0" fmla="*/ 60 w 120"/>
                <a:gd name="T1" fmla="*/ 128 h 128"/>
                <a:gd name="T2" fmla="*/ 58 w 120"/>
                <a:gd name="T3" fmla="*/ 127 h 128"/>
                <a:gd name="T4" fmla="*/ 0 w 120"/>
                <a:gd name="T5" fmla="*/ 48 h 128"/>
                <a:gd name="T6" fmla="*/ 0 w 120"/>
                <a:gd name="T7" fmla="*/ 16 h 128"/>
                <a:gd name="T8" fmla="*/ 4 w 120"/>
                <a:gd name="T9" fmla="*/ 16 h 128"/>
                <a:gd name="T10" fmla="*/ 38 w 120"/>
                <a:gd name="T11" fmla="*/ 7 h 128"/>
                <a:gd name="T12" fmla="*/ 60 w 120"/>
                <a:gd name="T13" fmla="*/ 0 h 128"/>
                <a:gd name="T14" fmla="*/ 83 w 120"/>
                <a:gd name="T15" fmla="*/ 7 h 128"/>
                <a:gd name="T16" fmla="*/ 116 w 120"/>
                <a:gd name="T17" fmla="*/ 16 h 128"/>
                <a:gd name="T18" fmla="*/ 120 w 120"/>
                <a:gd name="T19" fmla="*/ 16 h 128"/>
                <a:gd name="T20" fmla="*/ 120 w 120"/>
                <a:gd name="T21" fmla="*/ 48 h 128"/>
                <a:gd name="T22" fmla="*/ 62 w 120"/>
                <a:gd name="T23" fmla="*/ 127 h 128"/>
                <a:gd name="T24" fmla="*/ 60 w 120"/>
                <a:gd name="T25" fmla="*/ 128 h 128"/>
                <a:gd name="T26" fmla="*/ 8 w 120"/>
                <a:gd name="T27" fmla="*/ 24 h 128"/>
                <a:gd name="T28" fmla="*/ 8 w 120"/>
                <a:gd name="T29" fmla="*/ 48 h 128"/>
                <a:gd name="T30" fmla="*/ 60 w 120"/>
                <a:gd name="T31" fmla="*/ 119 h 128"/>
                <a:gd name="T32" fmla="*/ 112 w 120"/>
                <a:gd name="T33" fmla="*/ 48 h 128"/>
                <a:gd name="T34" fmla="*/ 112 w 120"/>
                <a:gd name="T35" fmla="*/ 24 h 128"/>
                <a:gd name="T36" fmla="*/ 78 w 120"/>
                <a:gd name="T37" fmla="*/ 14 h 128"/>
                <a:gd name="T38" fmla="*/ 60 w 120"/>
                <a:gd name="T39" fmla="*/ 8 h 128"/>
                <a:gd name="T40" fmla="*/ 43 w 120"/>
                <a:gd name="T41" fmla="*/ 14 h 128"/>
                <a:gd name="T42" fmla="*/ 8 w 120"/>
                <a:gd name="T43"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 h="128">
                  <a:moveTo>
                    <a:pt x="60" y="128"/>
                  </a:moveTo>
                  <a:cubicBezTo>
                    <a:pt x="58" y="127"/>
                    <a:pt x="58" y="127"/>
                    <a:pt x="58" y="127"/>
                  </a:cubicBezTo>
                  <a:cubicBezTo>
                    <a:pt x="21" y="106"/>
                    <a:pt x="0" y="78"/>
                    <a:pt x="0" y="48"/>
                  </a:cubicBezTo>
                  <a:cubicBezTo>
                    <a:pt x="0" y="16"/>
                    <a:pt x="0" y="16"/>
                    <a:pt x="0" y="16"/>
                  </a:cubicBezTo>
                  <a:cubicBezTo>
                    <a:pt x="4" y="16"/>
                    <a:pt x="4" y="16"/>
                    <a:pt x="4" y="16"/>
                  </a:cubicBezTo>
                  <a:cubicBezTo>
                    <a:pt x="17" y="16"/>
                    <a:pt x="29" y="13"/>
                    <a:pt x="38" y="7"/>
                  </a:cubicBezTo>
                  <a:cubicBezTo>
                    <a:pt x="44" y="3"/>
                    <a:pt x="52" y="0"/>
                    <a:pt x="60" y="0"/>
                  </a:cubicBezTo>
                  <a:cubicBezTo>
                    <a:pt x="69" y="0"/>
                    <a:pt x="77" y="3"/>
                    <a:pt x="83" y="7"/>
                  </a:cubicBezTo>
                  <a:cubicBezTo>
                    <a:pt x="91" y="13"/>
                    <a:pt x="103" y="16"/>
                    <a:pt x="116" y="16"/>
                  </a:cubicBezTo>
                  <a:cubicBezTo>
                    <a:pt x="120" y="16"/>
                    <a:pt x="120" y="16"/>
                    <a:pt x="120" y="16"/>
                  </a:cubicBezTo>
                  <a:cubicBezTo>
                    <a:pt x="120" y="48"/>
                    <a:pt x="120" y="48"/>
                    <a:pt x="120" y="48"/>
                  </a:cubicBezTo>
                  <a:cubicBezTo>
                    <a:pt x="120" y="78"/>
                    <a:pt x="100" y="106"/>
                    <a:pt x="62" y="127"/>
                  </a:cubicBezTo>
                  <a:lnTo>
                    <a:pt x="60" y="128"/>
                  </a:lnTo>
                  <a:close/>
                  <a:moveTo>
                    <a:pt x="8" y="24"/>
                  </a:moveTo>
                  <a:cubicBezTo>
                    <a:pt x="8" y="48"/>
                    <a:pt x="8" y="48"/>
                    <a:pt x="8" y="48"/>
                  </a:cubicBezTo>
                  <a:cubicBezTo>
                    <a:pt x="8" y="75"/>
                    <a:pt x="27" y="100"/>
                    <a:pt x="60" y="119"/>
                  </a:cubicBezTo>
                  <a:cubicBezTo>
                    <a:pt x="94" y="100"/>
                    <a:pt x="112" y="75"/>
                    <a:pt x="112" y="48"/>
                  </a:cubicBezTo>
                  <a:cubicBezTo>
                    <a:pt x="112" y="24"/>
                    <a:pt x="112" y="24"/>
                    <a:pt x="112" y="24"/>
                  </a:cubicBezTo>
                  <a:cubicBezTo>
                    <a:pt x="99" y="24"/>
                    <a:pt x="87" y="20"/>
                    <a:pt x="78" y="14"/>
                  </a:cubicBezTo>
                  <a:cubicBezTo>
                    <a:pt x="73" y="10"/>
                    <a:pt x="67" y="8"/>
                    <a:pt x="60" y="8"/>
                  </a:cubicBezTo>
                  <a:cubicBezTo>
                    <a:pt x="53" y="8"/>
                    <a:pt x="47" y="10"/>
                    <a:pt x="43" y="14"/>
                  </a:cubicBezTo>
                  <a:cubicBezTo>
                    <a:pt x="33" y="20"/>
                    <a:pt x="21" y="24"/>
                    <a:pt x="8" y="24"/>
                  </a:cubicBez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sp>
        <p:nvSpPr>
          <p:cNvPr id="77" name="Freeform 14">
            <a:extLst>
              <a:ext uri="{FF2B5EF4-FFF2-40B4-BE49-F238E27FC236}">
                <a16:creationId xmlns:a16="http://schemas.microsoft.com/office/drawing/2014/main" id="{00096DFF-A89F-4B99-BAEF-574BC6EBE355}"/>
              </a:ext>
            </a:extLst>
          </p:cNvPr>
          <p:cNvSpPr>
            <a:spLocks noEditPoints="1"/>
          </p:cNvSpPr>
          <p:nvPr/>
        </p:nvSpPr>
        <p:spPr bwMode="auto">
          <a:xfrm>
            <a:off x="4239891" y="3096277"/>
            <a:ext cx="616266" cy="511049"/>
          </a:xfrm>
          <a:custGeom>
            <a:avLst/>
            <a:gdLst>
              <a:gd name="T0" fmla="*/ 200 w 246"/>
              <a:gd name="T1" fmla="*/ 38 h 204"/>
              <a:gd name="T2" fmla="*/ 219 w 246"/>
              <a:gd name="T3" fmla="*/ 50 h 204"/>
              <a:gd name="T4" fmla="*/ 233 w 246"/>
              <a:gd name="T5" fmla="*/ 67 h 204"/>
              <a:gd name="T6" fmla="*/ 243 w 246"/>
              <a:gd name="T7" fmla="*/ 87 h 204"/>
              <a:gd name="T8" fmla="*/ 246 w 246"/>
              <a:gd name="T9" fmla="*/ 110 h 204"/>
              <a:gd name="T10" fmla="*/ 240 w 246"/>
              <a:gd name="T11" fmla="*/ 141 h 204"/>
              <a:gd name="T12" fmla="*/ 224 w 246"/>
              <a:gd name="T13" fmla="*/ 165 h 204"/>
              <a:gd name="T14" fmla="*/ 199 w 246"/>
              <a:gd name="T15" fmla="*/ 182 h 204"/>
              <a:gd name="T16" fmla="*/ 169 w 246"/>
              <a:gd name="T17" fmla="*/ 188 h 204"/>
              <a:gd name="T18" fmla="*/ 145 w 246"/>
              <a:gd name="T19" fmla="*/ 184 h 204"/>
              <a:gd name="T20" fmla="*/ 123 w 246"/>
              <a:gd name="T21" fmla="*/ 173 h 204"/>
              <a:gd name="T22" fmla="*/ 93 w 246"/>
              <a:gd name="T23" fmla="*/ 204 h 204"/>
              <a:gd name="T24" fmla="*/ 0 w 246"/>
              <a:gd name="T25" fmla="*/ 110 h 204"/>
              <a:gd name="T26" fmla="*/ 108 w 246"/>
              <a:gd name="T27" fmla="*/ 0 h 204"/>
              <a:gd name="T28" fmla="*/ 200 w 246"/>
              <a:gd name="T29" fmla="*/ 0 h 204"/>
              <a:gd name="T30" fmla="*/ 200 w 246"/>
              <a:gd name="T31" fmla="*/ 38 h 204"/>
              <a:gd name="T32" fmla="*/ 93 w 246"/>
              <a:gd name="T33" fmla="*/ 182 h 204"/>
              <a:gd name="T34" fmla="*/ 185 w 246"/>
              <a:gd name="T35" fmla="*/ 88 h 204"/>
              <a:gd name="T36" fmla="*/ 185 w 246"/>
              <a:gd name="T37" fmla="*/ 49 h 204"/>
              <a:gd name="T38" fmla="*/ 179 w 246"/>
              <a:gd name="T39" fmla="*/ 49 h 204"/>
              <a:gd name="T40" fmla="*/ 173 w 246"/>
              <a:gd name="T41" fmla="*/ 48 h 204"/>
              <a:gd name="T42" fmla="*/ 166 w 246"/>
              <a:gd name="T43" fmla="*/ 48 h 204"/>
              <a:gd name="T44" fmla="*/ 160 w 246"/>
              <a:gd name="T45" fmla="*/ 46 h 204"/>
              <a:gd name="T46" fmla="*/ 156 w 246"/>
              <a:gd name="T47" fmla="*/ 44 h 204"/>
              <a:gd name="T48" fmla="*/ 154 w 246"/>
              <a:gd name="T49" fmla="*/ 39 h 204"/>
              <a:gd name="T50" fmla="*/ 156 w 246"/>
              <a:gd name="T51" fmla="*/ 34 h 204"/>
              <a:gd name="T52" fmla="*/ 162 w 246"/>
              <a:gd name="T53" fmla="*/ 32 h 204"/>
              <a:gd name="T54" fmla="*/ 173 w 246"/>
              <a:gd name="T55" fmla="*/ 32 h 204"/>
              <a:gd name="T56" fmla="*/ 185 w 246"/>
              <a:gd name="T57" fmla="*/ 33 h 204"/>
              <a:gd name="T58" fmla="*/ 185 w 246"/>
              <a:gd name="T59" fmla="*/ 16 h 204"/>
              <a:gd name="T60" fmla="*/ 114 w 246"/>
              <a:gd name="T61" fmla="*/ 16 h 204"/>
              <a:gd name="T62" fmla="*/ 22 w 246"/>
              <a:gd name="T63" fmla="*/ 110 h 204"/>
              <a:gd name="T64" fmla="*/ 93 w 246"/>
              <a:gd name="T65" fmla="*/ 182 h 204"/>
              <a:gd name="T66" fmla="*/ 169 w 246"/>
              <a:gd name="T67" fmla="*/ 173 h 204"/>
              <a:gd name="T68" fmla="*/ 193 w 246"/>
              <a:gd name="T69" fmla="*/ 168 h 204"/>
              <a:gd name="T70" fmla="*/ 213 w 246"/>
              <a:gd name="T71" fmla="*/ 154 h 204"/>
              <a:gd name="T72" fmla="*/ 226 w 246"/>
              <a:gd name="T73" fmla="*/ 134 h 204"/>
              <a:gd name="T74" fmla="*/ 231 w 246"/>
              <a:gd name="T75" fmla="*/ 110 h 204"/>
              <a:gd name="T76" fmla="*/ 228 w 246"/>
              <a:gd name="T77" fmla="*/ 94 h 204"/>
              <a:gd name="T78" fmla="*/ 222 w 246"/>
              <a:gd name="T79" fmla="*/ 79 h 204"/>
              <a:gd name="T80" fmla="*/ 213 w 246"/>
              <a:gd name="T81" fmla="*/ 66 h 204"/>
              <a:gd name="T82" fmla="*/ 200 w 246"/>
              <a:gd name="T83" fmla="*/ 56 h 204"/>
              <a:gd name="T84" fmla="*/ 200 w 246"/>
              <a:gd name="T85" fmla="*/ 94 h 204"/>
              <a:gd name="T86" fmla="*/ 134 w 246"/>
              <a:gd name="T87" fmla="*/ 161 h 204"/>
              <a:gd name="T88" fmla="*/ 151 w 246"/>
              <a:gd name="T89" fmla="*/ 170 h 204"/>
              <a:gd name="T90" fmla="*/ 169 w 246"/>
              <a:gd name="T91" fmla="*/ 17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04">
                <a:moveTo>
                  <a:pt x="200" y="38"/>
                </a:moveTo>
                <a:cubicBezTo>
                  <a:pt x="207" y="41"/>
                  <a:pt x="213" y="45"/>
                  <a:pt x="219" y="50"/>
                </a:cubicBezTo>
                <a:cubicBezTo>
                  <a:pt x="225" y="55"/>
                  <a:pt x="230" y="61"/>
                  <a:pt x="233" y="67"/>
                </a:cubicBezTo>
                <a:cubicBezTo>
                  <a:pt x="237" y="73"/>
                  <a:pt x="241" y="80"/>
                  <a:pt x="243" y="87"/>
                </a:cubicBezTo>
                <a:cubicBezTo>
                  <a:pt x="245" y="95"/>
                  <a:pt x="246" y="102"/>
                  <a:pt x="246" y="110"/>
                </a:cubicBezTo>
                <a:cubicBezTo>
                  <a:pt x="246" y="121"/>
                  <a:pt x="244" y="131"/>
                  <a:pt x="240" y="141"/>
                </a:cubicBezTo>
                <a:cubicBezTo>
                  <a:pt x="236" y="150"/>
                  <a:pt x="230" y="158"/>
                  <a:pt x="224" y="165"/>
                </a:cubicBezTo>
                <a:cubicBezTo>
                  <a:pt x="217" y="173"/>
                  <a:pt x="208" y="178"/>
                  <a:pt x="199" y="182"/>
                </a:cubicBezTo>
                <a:cubicBezTo>
                  <a:pt x="190" y="186"/>
                  <a:pt x="180" y="188"/>
                  <a:pt x="169" y="188"/>
                </a:cubicBezTo>
                <a:cubicBezTo>
                  <a:pt x="161" y="188"/>
                  <a:pt x="153" y="187"/>
                  <a:pt x="145" y="184"/>
                </a:cubicBezTo>
                <a:cubicBezTo>
                  <a:pt x="137" y="182"/>
                  <a:pt x="130" y="178"/>
                  <a:pt x="123" y="173"/>
                </a:cubicBezTo>
                <a:cubicBezTo>
                  <a:pt x="93" y="204"/>
                  <a:pt x="93" y="204"/>
                  <a:pt x="93" y="204"/>
                </a:cubicBezTo>
                <a:cubicBezTo>
                  <a:pt x="0" y="110"/>
                  <a:pt x="0" y="110"/>
                  <a:pt x="0" y="110"/>
                </a:cubicBezTo>
                <a:cubicBezTo>
                  <a:pt x="108" y="0"/>
                  <a:pt x="108" y="0"/>
                  <a:pt x="108" y="0"/>
                </a:cubicBezTo>
                <a:cubicBezTo>
                  <a:pt x="200" y="0"/>
                  <a:pt x="200" y="0"/>
                  <a:pt x="200" y="0"/>
                </a:cubicBezTo>
                <a:cubicBezTo>
                  <a:pt x="200" y="38"/>
                  <a:pt x="200" y="38"/>
                  <a:pt x="200" y="38"/>
                </a:cubicBezTo>
                <a:close/>
                <a:moveTo>
                  <a:pt x="93" y="182"/>
                </a:moveTo>
                <a:cubicBezTo>
                  <a:pt x="185" y="88"/>
                  <a:pt x="185" y="88"/>
                  <a:pt x="185" y="88"/>
                </a:cubicBezTo>
                <a:cubicBezTo>
                  <a:pt x="185" y="49"/>
                  <a:pt x="185" y="49"/>
                  <a:pt x="185" y="49"/>
                </a:cubicBezTo>
                <a:cubicBezTo>
                  <a:pt x="183" y="49"/>
                  <a:pt x="181" y="49"/>
                  <a:pt x="179" y="49"/>
                </a:cubicBezTo>
                <a:cubicBezTo>
                  <a:pt x="177" y="48"/>
                  <a:pt x="175" y="48"/>
                  <a:pt x="173" y="48"/>
                </a:cubicBezTo>
                <a:cubicBezTo>
                  <a:pt x="171" y="48"/>
                  <a:pt x="168" y="48"/>
                  <a:pt x="166" y="48"/>
                </a:cubicBezTo>
                <a:cubicBezTo>
                  <a:pt x="164" y="47"/>
                  <a:pt x="162" y="47"/>
                  <a:pt x="160" y="46"/>
                </a:cubicBezTo>
                <a:cubicBezTo>
                  <a:pt x="158" y="46"/>
                  <a:pt x="157" y="45"/>
                  <a:pt x="156" y="44"/>
                </a:cubicBezTo>
                <a:cubicBezTo>
                  <a:pt x="154" y="43"/>
                  <a:pt x="154" y="41"/>
                  <a:pt x="154" y="39"/>
                </a:cubicBezTo>
                <a:cubicBezTo>
                  <a:pt x="154" y="37"/>
                  <a:pt x="155" y="35"/>
                  <a:pt x="156" y="34"/>
                </a:cubicBezTo>
                <a:cubicBezTo>
                  <a:pt x="158" y="32"/>
                  <a:pt x="159" y="32"/>
                  <a:pt x="162" y="32"/>
                </a:cubicBezTo>
                <a:cubicBezTo>
                  <a:pt x="165" y="32"/>
                  <a:pt x="169" y="32"/>
                  <a:pt x="173" y="32"/>
                </a:cubicBezTo>
                <a:cubicBezTo>
                  <a:pt x="177" y="32"/>
                  <a:pt x="181" y="32"/>
                  <a:pt x="185" y="33"/>
                </a:cubicBezTo>
                <a:cubicBezTo>
                  <a:pt x="185" y="16"/>
                  <a:pt x="185" y="16"/>
                  <a:pt x="185" y="16"/>
                </a:cubicBezTo>
                <a:cubicBezTo>
                  <a:pt x="114" y="16"/>
                  <a:pt x="114" y="16"/>
                  <a:pt x="114" y="16"/>
                </a:cubicBezTo>
                <a:cubicBezTo>
                  <a:pt x="22" y="110"/>
                  <a:pt x="22" y="110"/>
                  <a:pt x="22" y="110"/>
                </a:cubicBezTo>
                <a:cubicBezTo>
                  <a:pt x="93" y="182"/>
                  <a:pt x="93" y="182"/>
                  <a:pt x="93" y="182"/>
                </a:cubicBezTo>
                <a:close/>
                <a:moveTo>
                  <a:pt x="169" y="173"/>
                </a:moveTo>
                <a:cubicBezTo>
                  <a:pt x="178" y="173"/>
                  <a:pt x="186" y="171"/>
                  <a:pt x="193" y="168"/>
                </a:cubicBezTo>
                <a:cubicBezTo>
                  <a:pt x="201" y="164"/>
                  <a:pt x="207" y="160"/>
                  <a:pt x="213" y="154"/>
                </a:cubicBezTo>
                <a:cubicBezTo>
                  <a:pt x="218" y="149"/>
                  <a:pt x="223" y="142"/>
                  <a:pt x="226" y="134"/>
                </a:cubicBezTo>
                <a:cubicBezTo>
                  <a:pt x="229" y="127"/>
                  <a:pt x="231" y="119"/>
                  <a:pt x="231" y="110"/>
                </a:cubicBezTo>
                <a:cubicBezTo>
                  <a:pt x="231" y="104"/>
                  <a:pt x="230" y="99"/>
                  <a:pt x="228" y="94"/>
                </a:cubicBezTo>
                <a:cubicBezTo>
                  <a:pt x="227" y="88"/>
                  <a:pt x="225" y="83"/>
                  <a:pt x="222" y="79"/>
                </a:cubicBezTo>
                <a:cubicBezTo>
                  <a:pt x="220" y="74"/>
                  <a:pt x="216" y="70"/>
                  <a:pt x="213" y="66"/>
                </a:cubicBezTo>
                <a:cubicBezTo>
                  <a:pt x="209" y="62"/>
                  <a:pt x="205" y="58"/>
                  <a:pt x="200" y="56"/>
                </a:cubicBezTo>
                <a:cubicBezTo>
                  <a:pt x="200" y="94"/>
                  <a:pt x="200" y="94"/>
                  <a:pt x="200" y="94"/>
                </a:cubicBezTo>
                <a:cubicBezTo>
                  <a:pt x="134" y="161"/>
                  <a:pt x="134" y="161"/>
                  <a:pt x="134" y="161"/>
                </a:cubicBezTo>
                <a:cubicBezTo>
                  <a:pt x="139" y="165"/>
                  <a:pt x="145" y="168"/>
                  <a:pt x="151" y="170"/>
                </a:cubicBezTo>
                <a:cubicBezTo>
                  <a:pt x="157" y="172"/>
                  <a:pt x="163" y="173"/>
                  <a:pt x="169" y="173"/>
                </a:cubicBezTo>
                <a:close/>
              </a:path>
            </a:pathLst>
          </a:custGeom>
          <a:solidFill>
            <a:schemeClr val="bg1"/>
          </a:solidFill>
          <a:ln>
            <a:noFill/>
          </a:ln>
          <a:extLst/>
        </p:spPr>
        <p:txBody>
          <a:bodyPr vert="horz" wrap="square" lIns="87822" tIns="43912" rIns="87822" bIns="43912" numCol="1" anchor="t" anchorCtr="0" compatLnSpc="1">
            <a:prstTxWarp prst="textNoShape">
              <a:avLst/>
            </a:prstTxWarp>
          </a:bodyPr>
          <a:lstStyle/>
          <a:p>
            <a:pPr defTabSz="896145">
              <a:defRPr/>
            </a:pPr>
            <a:endParaRPr lang="en-US" sz="1729">
              <a:solidFill>
                <a:srgbClr val="505050"/>
              </a:solidFill>
              <a:latin typeface="Segoe UI"/>
            </a:endParaRPr>
          </a:p>
        </p:txBody>
      </p:sp>
      <p:grpSp>
        <p:nvGrpSpPr>
          <p:cNvPr id="84" name="Group 83">
            <a:extLst>
              <a:ext uri="{FF2B5EF4-FFF2-40B4-BE49-F238E27FC236}">
                <a16:creationId xmlns:a16="http://schemas.microsoft.com/office/drawing/2014/main" id="{88568FE3-2145-43CC-80FC-18A9871B4C59}"/>
              </a:ext>
            </a:extLst>
          </p:cNvPr>
          <p:cNvGrpSpPr/>
          <p:nvPr/>
        </p:nvGrpSpPr>
        <p:grpSpPr>
          <a:xfrm>
            <a:off x="9810039" y="3056563"/>
            <a:ext cx="558801" cy="574416"/>
            <a:chOff x="5208587" y="2477355"/>
            <a:chExt cx="511175" cy="525463"/>
          </a:xfrm>
        </p:grpSpPr>
        <p:sp>
          <p:nvSpPr>
            <p:cNvPr id="85" name="Line 46">
              <a:extLst>
                <a:ext uri="{FF2B5EF4-FFF2-40B4-BE49-F238E27FC236}">
                  <a16:creationId xmlns:a16="http://schemas.microsoft.com/office/drawing/2014/main" id="{F1C68340-B4BC-4871-B946-E4F2244A7B2E}"/>
                </a:ext>
              </a:extLst>
            </p:cNvPr>
            <p:cNvSpPr>
              <a:spLocks noChangeShapeType="1"/>
            </p:cNvSpPr>
            <p:nvPr/>
          </p:nvSpPr>
          <p:spPr bwMode="auto">
            <a:xfrm flipH="1">
              <a:off x="5284787" y="2601180"/>
              <a:ext cx="47625" cy="49213"/>
            </a:xfrm>
            <a:prstGeom prst="lin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86" name="Line 47">
              <a:extLst>
                <a:ext uri="{FF2B5EF4-FFF2-40B4-BE49-F238E27FC236}">
                  <a16:creationId xmlns:a16="http://schemas.microsoft.com/office/drawing/2014/main" id="{58D9B4F9-6D87-489A-A413-983408742DFD}"/>
                </a:ext>
              </a:extLst>
            </p:cNvPr>
            <p:cNvSpPr>
              <a:spLocks noChangeShapeType="1"/>
            </p:cNvSpPr>
            <p:nvPr/>
          </p:nvSpPr>
          <p:spPr bwMode="auto">
            <a:xfrm flipH="1" flipV="1">
              <a:off x="5381624" y="2601180"/>
              <a:ext cx="71438" cy="71438"/>
            </a:xfrm>
            <a:prstGeom prst="lin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87" name="Line 48">
              <a:extLst>
                <a:ext uri="{FF2B5EF4-FFF2-40B4-BE49-F238E27FC236}">
                  <a16:creationId xmlns:a16="http://schemas.microsoft.com/office/drawing/2014/main" id="{F85B50AE-1BA5-4D8D-9E13-5EB8BD9685AC}"/>
                </a:ext>
              </a:extLst>
            </p:cNvPr>
            <p:cNvSpPr>
              <a:spLocks noChangeShapeType="1"/>
            </p:cNvSpPr>
            <p:nvPr/>
          </p:nvSpPr>
          <p:spPr bwMode="auto">
            <a:xfrm flipH="1">
              <a:off x="5521324" y="2548792"/>
              <a:ext cx="119063" cy="123825"/>
            </a:xfrm>
            <a:prstGeom prst="lin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88" name="Freeform 49">
              <a:extLst>
                <a:ext uri="{FF2B5EF4-FFF2-40B4-BE49-F238E27FC236}">
                  <a16:creationId xmlns:a16="http://schemas.microsoft.com/office/drawing/2014/main" id="{85E780CA-997A-4CC3-8828-420DD58A03C9}"/>
                </a:ext>
              </a:extLst>
            </p:cNvPr>
            <p:cNvSpPr>
              <a:spLocks/>
            </p:cNvSpPr>
            <p:nvPr/>
          </p:nvSpPr>
          <p:spPr bwMode="auto">
            <a:xfrm>
              <a:off x="5265737" y="2744055"/>
              <a:ext cx="130175" cy="258763"/>
            </a:xfrm>
            <a:custGeom>
              <a:avLst/>
              <a:gdLst>
                <a:gd name="T0" fmla="*/ 54 w 82"/>
                <a:gd name="T1" fmla="*/ 0 h 163"/>
                <a:gd name="T2" fmla="*/ 0 w 82"/>
                <a:gd name="T3" fmla="*/ 55 h 163"/>
                <a:gd name="T4" fmla="*/ 0 w 82"/>
                <a:gd name="T5" fmla="*/ 163 h 163"/>
                <a:gd name="T6" fmla="*/ 82 w 82"/>
                <a:gd name="T7" fmla="*/ 163 h 163"/>
                <a:gd name="T8" fmla="*/ 82 w 82"/>
                <a:gd name="T9" fmla="*/ 28 h 163"/>
                <a:gd name="T10" fmla="*/ 54 w 82"/>
                <a:gd name="T11" fmla="*/ 0 h 163"/>
              </a:gdLst>
              <a:ahLst/>
              <a:cxnLst>
                <a:cxn ang="0">
                  <a:pos x="T0" y="T1"/>
                </a:cxn>
                <a:cxn ang="0">
                  <a:pos x="T2" y="T3"/>
                </a:cxn>
                <a:cxn ang="0">
                  <a:pos x="T4" y="T5"/>
                </a:cxn>
                <a:cxn ang="0">
                  <a:pos x="T6" y="T7"/>
                </a:cxn>
                <a:cxn ang="0">
                  <a:pos x="T8" y="T9"/>
                </a:cxn>
                <a:cxn ang="0">
                  <a:pos x="T10" y="T11"/>
                </a:cxn>
              </a:cxnLst>
              <a:rect l="0" t="0" r="r" b="b"/>
              <a:pathLst>
                <a:path w="82" h="163">
                  <a:moveTo>
                    <a:pt x="54" y="0"/>
                  </a:moveTo>
                  <a:lnTo>
                    <a:pt x="0" y="55"/>
                  </a:lnTo>
                  <a:lnTo>
                    <a:pt x="0" y="163"/>
                  </a:lnTo>
                  <a:lnTo>
                    <a:pt x="82" y="163"/>
                  </a:lnTo>
                  <a:lnTo>
                    <a:pt x="82" y="28"/>
                  </a:lnTo>
                  <a:lnTo>
                    <a:pt x="54" y="0"/>
                  </a:lnTo>
                  <a:close/>
                </a:path>
              </a:pathLst>
            </a:cu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89" name="Freeform 50">
              <a:extLst>
                <a:ext uri="{FF2B5EF4-FFF2-40B4-BE49-F238E27FC236}">
                  <a16:creationId xmlns:a16="http://schemas.microsoft.com/office/drawing/2014/main" id="{5A91F3AC-BD52-4AC5-93F8-85D0164111AF}"/>
                </a:ext>
              </a:extLst>
            </p:cNvPr>
            <p:cNvSpPr>
              <a:spLocks/>
            </p:cNvSpPr>
            <p:nvPr/>
          </p:nvSpPr>
          <p:spPr bwMode="auto">
            <a:xfrm>
              <a:off x="5395912" y="2788505"/>
              <a:ext cx="131763" cy="214313"/>
            </a:xfrm>
            <a:custGeom>
              <a:avLst/>
              <a:gdLst>
                <a:gd name="T0" fmla="*/ 53 w 83"/>
                <a:gd name="T1" fmla="*/ 53 h 135"/>
                <a:gd name="T2" fmla="*/ 0 w 83"/>
                <a:gd name="T3" fmla="*/ 0 h 135"/>
                <a:gd name="T4" fmla="*/ 0 w 83"/>
                <a:gd name="T5" fmla="*/ 135 h 135"/>
                <a:gd name="T6" fmla="*/ 83 w 83"/>
                <a:gd name="T7" fmla="*/ 135 h 135"/>
                <a:gd name="T8" fmla="*/ 83 w 83"/>
                <a:gd name="T9" fmla="*/ 19 h 135"/>
                <a:gd name="T10" fmla="*/ 53 w 83"/>
                <a:gd name="T11" fmla="*/ 53 h 135"/>
              </a:gdLst>
              <a:ahLst/>
              <a:cxnLst>
                <a:cxn ang="0">
                  <a:pos x="T0" y="T1"/>
                </a:cxn>
                <a:cxn ang="0">
                  <a:pos x="T2" y="T3"/>
                </a:cxn>
                <a:cxn ang="0">
                  <a:pos x="T4" y="T5"/>
                </a:cxn>
                <a:cxn ang="0">
                  <a:pos x="T6" y="T7"/>
                </a:cxn>
                <a:cxn ang="0">
                  <a:pos x="T8" y="T9"/>
                </a:cxn>
                <a:cxn ang="0">
                  <a:pos x="T10" y="T11"/>
                </a:cxn>
              </a:cxnLst>
              <a:rect l="0" t="0" r="r" b="b"/>
              <a:pathLst>
                <a:path w="83" h="135">
                  <a:moveTo>
                    <a:pt x="53" y="53"/>
                  </a:moveTo>
                  <a:lnTo>
                    <a:pt x="0" y="0"/>
                  </a:lnTo>
                  <a:lnTo>
                    <a:pt x="0" y="135"/>
                  </a:lnTo>
                  <a:lnTo>
                    <a:pt x="83" y="135"/>
                  </a:lnTo>
                  <a:lnTo>
                    <a:pt x="83" y="19"/>
                  </a:lnTo>
                  <a:lnTo>
                    <a:pt x="53" y="53"/>
                  </a:lnTo>
                  <a:close/>
                </a:path>
              </a:pathLst>
            </a:cu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90" name="Freeform 51">
              <a:extLst>
                <a:ext uri="{FF2B5EF4-FFF2-40B4-BE49-F238E27FC236}">
                  <a16:creationId xmlns:a16="http://schemas.microsoft.com/office/drawing/2014/main" id="{93887948-8BB9-4288-808F-00B7F960F379}"/>
                </a:ext>
              </a:extLst>
            </p:cNvPr>
            <p:cNvSpPr>
              <a:spLocks/>
            </p:cNvSpPr>
            <p:nvPr/>
          </p:nvSpPr>
          <p:spPr bwMode="auto">
            <a:xfrm>
              <a:off x="5527674" y="2688492"/>
              <a:ext cx="134938" cy="314325"/>
            </a:xfrm>
            <a:custGeom>
              <a:avLst/>
              <a:gdLst>
                <a:gd name="T0" fmla="*/ 0 w 85"/>
                <a:gd name="T1" fmla="*/ 82 h 198"/>
                <a:gd name="T2" fmla="*/ 0 w 85"/>
                <a:gd name="T3" fmla="*/ 198 h 198"/>
                <a:gd name="T4" fmla="*/ 85 w 85"/>
                <a:gd name="T5" fmla="*/ 198 h 198"/>
                <a:gd name="T6" fmla="*/ 85 w 85"/>
                <a:gd name="T7" fmla="*/ 0 h 198"/>
                <a:gd name="T8" fmla="*/ 0 w 85"/>
                <a:gd name="T9" fmla="*/ 82 h 198"/>
              </a:gdLst>
              <a:ahLst/>
              <a:cxnLst>
                <a:cxn ang="0">
                  <a:pos x="T0" y="T1"/>
                </a:cxn>
                <a:cxn ang="0">
                  <a:pos x="T2" y="T3"/>
                </a:cxn>
                <a:cxn ang="0">
                  <a:pos x="T4" y="T5"/>
                </a:cxn>
                <a:cxn ang="0">
                  <a:pos x="T6" y="T7"/>
                </a:cxn>
                <a:cxn ang="0">
                  <a:pos x="T8" y="T9"/>
                </a:cxn>
              </a:cxnLst>
              <a:rect l="0" t="0" r="r" b="b"/>
              <a:pathLst>
                <a:path w="85" h="198">
                  <a:moveTo>
                    <a:pt x="0" y="82"/>
                  </a:moveTo>
                  <a:lnTo>
                    <a:pt x="0" y="198"/>
                  </a:lnTo>
                  <a:lnTo>
                    <a:pt x="85" y="198"/>
                  </a:lnTo>
                  <a:lnTo>
                    <a:pt x="85" y="0"/>
                  </a:lnTo>
                  <a:lnTo>
                    <a:pt x="0" y="82"/>
                  </a:lnTo>
                  <a:close/>
                </a:path>
              </a:pathLst>
            </a:cu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92" name="Oval 53">
              <a:extLst>
                <a:ext uri="{FF2B5EF4-FFF2-40B4-BE49-F238E27FC236}">
                  <a16:creationId xmlns:a16="http://schemas.microsoft.com/office/drawing/2014/main" id="{0853F138-AEAF-40CD-834D-102BC0DC319F}"/>
                </a:ext>
              </a:extLst>
            </p:cNvPr>
            <p:cNvSpPr>
              <a:spLocks noChangeArrowheads="1"/>
            </p:cNvSpPr>
            <p:nvPr/>
          </p:nvSpPr>
          <p:spPr bwMode="auto">
            <a:xfrm>
              <a:off x="5208587" y="2639280"/>
              <a:ext cx="90488" cy="85725"/>
            </a:xfrm>
            <a:prstGeom prst="ellips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93" name="Oval 54">
              <a:extLst>
                <a:ext uri="{FF2B5EF4-FFF2-40B4-BE49-F238E27FC236}">
                  <a16:creationId xmlns:a16="http://schemas.microsoft.com/office/drawing/2014/main" id="{7301FED8-8758-444E-AC48-9FBB0B5C681E}"/>
                </a:ext>
              </a:extLst>
            </p:cNvPr>
            <p:cNvSpPr>
              <a:spLocks noChangeArrowheads="1"/>
            </p:cNvSpPr>
            <p:nvPr/>
          </p:nvSpPr>
          <p:spPr bwMode="auto">
            <a:xfrm>
              <a:off x="5632449" y="2477355"/>
              <a:ext cx="87313" cy="85725"/>
            </a:xfrm>
            <a:prstGeom prst="ellips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94" name="Oval 55">
              <a:extLst>
                <a:ext uri="{FF2B5EF4-FFF2-40B4-BE49-F238E27FC236}">
                  <a16:creationId xmlns:a16="http://schemas.microsoft.com/office/drawing/2014/main" id="{86D15AE4-48A8-4324-8B33-54477DCFD98C}"/>
                </a:ext>
              </a:extLst>
            </p:cNvPr>
            <p:cNvSpPr>
              <a:spLocks noChangeArrowheads="1"/>
            </p:cNvSpPr>
            <p:nvPr/>
          </p:nvSpPr>
          <p:spPr bwMode="auto">
            <a:xfrm>
              <a:off x="5441949" y="2658330"/>
              <a:ext cx="90488" cy="85725"/>
            </a:xfrm>
            <a:prstGeom prst="ellips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sp>
          <p:nvSpPr>
            <p:cNvPr id="95" name="Oval 56">
              <a:extLst>
                <a:ext uri="{FF2B5EF4-FFF2-40B4-BE49-F238E27FC236}">
                  <a16:creationId xmlns:a16="http://schemas.microsoft.com/office/drawing/2014/main" id="{BC231FE4-A0C7-4919-87FF-53883894C228}"/>
                </a:ext>
              </a:extLst>
            </p:cNvPr>
            <p:cNvSpPr>
              <a:spLocks noChangeArrowheads="1"/>
            </p:cNvSpPr>
            <p:nvPr/>
          </p:nvSpPr>
          <p:spPr bwMode="auto">
            <a:xfrm>
              <a:off x="5310187" y="2518630"/>
              <a:ext cx="90488" cy="90488"/>
            </a:xfrm>
            <a:prstGeom prst="ellipse">
              <a:avLst/>
            </a:prstGeom>
            <a:noFill/>
            <a:ln w="25400" cap="rnd">
              <a:solidFill>
                <a:schemeClr val="bg1"/>
              </a:solidFill>
              <a:prstDash val="solid"/>
              <a:round/>
              <a:headEnd/>
              <a:tailEnd/>
            </a:ln>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145">
                <a:defRPr/>
              </a:pPr>
              <a:endParaRPr lang="en-US" sz="1765" kern="0">
                <a:solidFill>
                  <a:sysClr val="windowText" lastClr="000000"/>
                </a:solidFill>
                <a:latin typeface="Segoe UI"/>
              </a:endParaRPr>
            </a:p>
          </p:txBody>
        </p:sp>
      </p:grpSp>
      <p:sp>
        <p:nvSpPr>
          <p:cNvPr id="96" name="TextBox 95">
            <a:extLst>
              <a:ext uri="{FF2B5EF4-FFF2-40B4-BE49-F238E27FC236}">
                <a16:creationId xmlns:a16="http://schemas.microsoft.com/office/drawing/2014/main" id="{8CA17E91-85B4-461E-BF3B-CAF704EE4B7B}"/>
              </a:ext>
            </a:extLst>
          </p:cNvPr>
          <p:cNvSpPr txBox="1"/>
          <p:nvPr/>
        </p:nvSpPr>
        <p:spPr>
          <a:xfrm>
            <a:off x="3588950" y="1739173"/>
            <a:ext cx="5010925" cy="512367"/>
          </a:xfrm>
          <a:prstGeom prst="rect">
            <a:avLst/>
          </a:prstGeom>
          <a:solidFill>
            <a:schemeClr val="bg1"/>
          </a:solidFill>
        </p:spPr>
        <p:txBody>
          <a:bodyPr wrap="square" lIns="0" tIns="146225" rIns="0" bIns="146225" rtlCol="0" anchor="b">
            <a:spAutoFit/>
          </a:bodyPr>
          <a:lstStyle/>
          <a:p>
            <a:pPr algn="ctr" defTabSz="914121">
              <a:lnSpc>
                <a:spcPct val="90000"/>
              </a:lnSpc>
              <a:spcAft>
                <a:spcPts val="588"/>
              </a:spcAft>
              <a:defRPr/>
            </a:pPr>
            <a:r>
              <a:rPr lang="en-US" sz="1567" spc="295" dirty="0">
                <a:solidFill>
                  <a:srgbClr val="505050"/>
                </a:solidFill>
                <a:latin typeface="Segoe UI Semibold" panose="020B0702040204020203" pitchFamily="34" charset="0"/>
                <a:cs typeface="Segoe UI Semibold" panose="020B0702040204020203" pitchFamily="34" charset="0"/>
              </a:rPr>
              <a:t>INFORMATION PROTECTION LIFECYCLE</a:t>
            </a:r>
          </a:p>
        </p:txBody>
      </p:sp>
      <p:sp>
        <p:nvSpPr>
          <p:cNvPr id="5" name="Title 4">
            <a:extLst>
              <a:ext uri="{FF2B5EF4-FFF2-40B4-BE49-F238E27FC236}">
                <a16:creationId xmlns:a16="http://schemas.microsoft.com/office/drawing/2014/main" id="{3D9E3E4B-78F1-4BEE-8DBD-F53D248A122D}"/>
              </a:ext>
            </a:extLst>
          </p:cNvPr>
          <p:cNvSpPr>
            <a:spLocks noGrp="1"/>
          </p:cNvSpPr>
          <p:nvPr>
            <p:ph type="title"/>
          </p:nvPr>
        </p:nvSpPr>
        <p:spPr/>
        <p:txBody>
          <a:bodyPr/>
          <a:lstStyle/>
          <a:p>
            <a:r>
              <a:rPr lang="en-US" dirty="0"/>
              <a:t>Azure Information Protection</a:t>
            </a:r>
            <a:endParaRPr lang="nl-NL" dirty="0"/>
          </a:p>
        </p:txBody>
      </p:sp>
      <p:sp>
        <p:nvSpPr>
          <p:cNvPr id="2" name="Tijdelijke aanduiding voor inhoud 1">
            <a:extLst>
              <a:ext uri="{FF2B5EF4-FFF2-40B4-BE49-F238E27FC236}">
                <a16:creationId xmlns:a16="http://schemas.microsoft.com/office/drawing/2014/main" id="{B132F973-4D8A-4BE0-8CBF-01E1D4ED424C}"/>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408815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75292BB-7540-4D2D-AC6D-BE8B17CFDF7F}"/>
              </a:ext>
            </a:extLst>
          </p:cNvPr>
          <p:cNvSpPr>
            <a:spLocks noGrp="1"/>
          </p:cNvSpPr>
          <p:nvPr>
            <p:ph type="title"/>
          </p:nvPr>
        </p:nvSpPr>
        <p:spPr/>
        <p:txBody>
          <a:bodyPr/>
          <a:lstStyle/>
          <a:p>
            <a:r>
              <a:rPr lang="nl-NL" dirty="0"/>
              <a:t>Het recht van de EU inwoner</a:t>
            </a:r>
          </a:p>
        </p:txBody>
      </p:sp>
      <p:sp>
        <p:nvSpPr>
          <p:cNvPr id="7" name="Tijdelijke aanduiding voor inhoud 6">
            <a:extLst>
              <a:ext uri="{FF2B5EF4-FFF2-40B4-BE49-F238E27FC236}">
                <a16:creationId xmlns:a16="http://schemas.microsoft.com/office/drawing/2014/main" id="{0E3BBA35-69B8-4225-975F-433A3A7F5E8D}"/>
              </a:ext>
            </a:extLst>
          </p:cNvPr>
          <p:cNvSpPr>
            <a:spLocks noGrp="1"/>
          </p:cNvSpPr>
          <p:nvPr>
            <p:ph sz="half" idx="1"/>
          </p:nvPr>
        </p:nvSpPr>
        <p:spPr>
          <a:xfrm>
            <a:off x="419768" y="1825625"/>
            <a:ext cx="5750844" cy="4351339"/>
          </a:xfrm>
        </p:spPr>
        <p:txBody>
          <a:bodyPr/>
          <a:lstStyle/>
          <a:p>
            <a:pPr>
              <a:buFont typeface="Arial" panose="020B0604020202020204" pitchFamily="34" charset="0"/>
              <a:buChar char="•"/>
            </a:pPr>
            <a:r>
              <a:rPr lang="nl-NL" dirty="0"/>
              <a:t>Opvragen van alle PII (personal </a:t>
            </a:r>
            <a:r>
              <a:rPr lang="en-GB" dirty="0"/>
              <a:t>identifiable</a:t>
            </a:r>
            <a:r>
              <a:rPr lang="nl-NL" dirty="0"/>
              <a:t> information) die door een organisatie wordt opgeslagen  en bewerkt</a:t>
            </a:r>
          </a:p>
          <a:p>
            <a:pPr>
              <a:buFont typeface="Arial" panose="020B0604020202020204" pitchFamily="34" charset="0"/>
              <a:buChar char="•"/>
            </a:pPr>
            <a:endParaRPr lang="nl-NL" dirty="0"/>
          </a:p>
          <a:p>
            <a:pPr>
              <a:buFont typeface="Arial" panose="020B0604020202020204" pitchFamily="34" charset="0"/>
              <a:buChar char="•"/>
            </a:pPr>
            <a:r>
              <a:rPr lang="nl-NL" dirty="0"/>
              <a:t>Binnen 30 dagen een reactie</a:t>
            </a:r>
          </a:p>
          <a:p>
            <a:pPr>
              <a:buFont typeface="Arial" panose="020B0604020202020204" pitchFamily="34" charset="0"/>
              <a:buChar char="•"/>
            </a:pPr>
            <a:endParaRPr lang="nl-NL" dirty="0"/>
          </a:p>
          <a:p>
            <a:pPr>
              <a:buFont typeface="Arial" panose="020B0604020202020204" pitchFamily="34" charset="0"/>
              <a:buChar char="•"/>
            </a:pPr>
            <a:r>
              <a:rPr lang="nl-NL" dirty="0"/>
              <a:t>Het recht om vergeten te worden</a:t>
            </a:r>
          </a:p>
          <a:p>
            <a:pPr>
              <a:buFont typeface="Arial" panose="020B0604020202020204" pitchFamily="34" charset="0"/>
              <a:buChar char="•"/>
            </a:pPr>
            <a:endParaRPr lang="nl-NL" dirty="0"/>
          </a:p>
          <a:p>
            <a:pPr>
              <a:buFont typeface="Arial" panose="020B0604020202020204" pitchFamily="34" charset="0"/>
              <a:buChar char="•"/>
            </a:pPr>
            <a:r>
              <a:rPr lang="nl-NL" dirty="0"/>
              <a:t>Akkoord geven op het verwerken van persoonlijk informatie</a:t>
            </a:r>
          </a:p>
        </p:txBody>
      </p:sp>
      <p:pic>
        <p:nvPicPr>
          <p:cNvPr id="9" name="Picture 20">
            <a:extLst>
              <a:ext uri="{FF2B5EF4-FFF2-40B4-BE49-F238E27FC236}">
                <a16:creationId xmlns:a16="http://schemas.microsoft.com/office/drawing/2014/main" id="{C1DB7788-1B7C-427B-9E51-1E529404678C}"/>
              </a:ext>
            </a:extLst>
          </p:cNvPr>
          <p:cNvPicPr>
            <a:picLocks noGrp="1" noChangeAspect="1"/>
          </p:cNvPicPr>
          <p:nvPr>
            <p:ph sz="half" idx="10"/>
          </p:nvPr>
        </p:nvPicPr>
        <p:blipFill>
          <a:blip r:embed="rId3">
            <a:extLst>
              <a:ext uri="{28A0092B-C50C-407E-A947-70E740481C1C}">
                <a14:useLocalDpi xmlns:a14="http://schemas.microsoft.com/office/drawing/2010/main" val="0"/>
              </a:ext>
            </a:extLst>
          </a:blip>
          <a:stretch>
            <a:fillRect/>
          </a:stretch>
        </p:blipFill>
        <p:spPr>
          <a:xfrm>
            <a:off x="6334125" y="2362051"/>
            <a:ext cx="5492750" cy="3278485"/>
          </a:xfrm>
          <a:prstGeom prst="rect">
            <a:avLst/>
          </a:prstGeom>
        </p:spPr>
      </p:pic>
    </p:spTree>
    <p:extLst>
      <p:ext uri="{BB962C8B-B14F-4D97-AF65-F5344CB8AC3E}">
        <p14:creationId xmlns:p14="http://schemas.microsoft.com/office/powerpoint/2010/main" val="25668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ABD2D2-7CFD-4D17-B301-1F3021BF425F}"/>
              </a:ext>
            </a:extLst>
          </p:cNvPr>
          <p:cNvSpPr>
            <a:spLocks noGrp="1"/>
          </p:cNvSpPr>
          <p:nvPr>
            <p:ph type="title"/>
          </p:nvPr>
        </p:nvSpPr>
        <p:spPr/>
        <p:txBody>
          <a:bodyPr/>
          <a:lstStyle/>
          <a:p>
            <a:r>
              <a:rPr lang="nl-NL" dirty="0"/>
              <a:t>Classificeer, label en bescherm</a:t>
            </a:r>
          </a:p>
        </p:txBody>
      </p:sp>
      <p:sp>
        <p:nvSpPr>
          <p:cNvPr id="3" name="Tijdelijke aanduiding voor inhoud 2">
            <a:extLst>
              <a:ext uri="{FF2B5EF4-FFF2-40B4-BE49-F238E27FC236}">
                <a16:creationId xmlns:a16="http://schemas.microsoft.com/office/drawing/2014/main" id="{BBFF0A4F-F477-4A2B-8F61-46BBCBB51120}"/>
              </a:ext>
            </a:extLst>
          </p:cNvPr>
          <p:cNvSpPr>
            <a:spLocks noGrp="1"/>
          </p:cNvSpPr>
          <p:nvPr>
            <p:ph idx="1"/>
          </p:nvPr>
        </p:nvSpPr>
        <p:spPr/>
        <p:txBody>
          <a:bodyPr/>
          <a:lstStyle/>
          <a:p>
            <a:endParaRPr lang="nl-NL"/>
          </a:p>
        </p:txBody>
      </p:sp>
      <p:sp>
        <p:nvSpPr>
          <p:cNvPr id="4" name="Tijdelijke aanduiding voor dianummer 3">
            <a:extLst>
              <a:ext uri="{FF2B5EF4-FFF2-40B4-BE49-F238E27FC236}">
                <a16:creationId xmlns:a16="http://schemas.microsoft.com/office/drawing/2014/main" id="{63E5310E-8F6E-4F12-AA4F-88A90D132D67}"/>
              </a:ext>
            </a:extLst>
          </p:cNvPr>
          <p:cNvSpPr>
            <a:spLocks noGrp="1"/>
          </p:cNvSpPr>
          <p:nvPr>
            <p:ph type="sldNum" sz="quarter" idx="10"/>
          </p:nvPr>
        </p:nvSpPr>
        <p:spPr/>
        <p:txBody>
          <a:bodyPr/>
          <a:lstStyle/>
          <a:p>
            <a:fld id="{4EACBA47-91FC-4F0F-98EF-AF8B449ABA17}" type="slidenum">
              <a:rPr lang="nl-NL" noProof="0" smtClean="0"/>
              <a:pPr/>
              <a:t>30</a:t>
            </a:fld>
            <a:endParaRPr lang="nl-NL" noProof="0"/>
          </a:p>
        </p:txBody>
      </p:sp>
      <p:sp>
        <p:nvSpPr>
          <p:cNvPr id="5" name="Tijdelijke aanduiding voor voettekst 4">
            <a:extLst>
              <a:ext uri="{FF2B5EF4-FFF2-40B4-BE49-F238E27FC236}">
                <a16:creationId xmlns:a16="http://schemas.microsoft.com/office/drawing/2014/main" id="{B609167C-A088-4B67-B2F0-BABE18C306DA}"/>
              </a:ext>
            </a:extLst>
          </p:cNvPr>
          <p:cNvSpPr>
            <a:spLocks noGrp="1"/>
          </p:cNvSpPr>
          <p:nvPr>
            <p:ph type="ftr" sz="quarter" idx="11"/>
          </p:nvPr>
        </p:nvSpPr>
        <p:spPr/>
        <p:txBody>
          <a:bodyPr/>
          <a:lstStyle/>
          <a:p>
            <a:r>
              <a:rPr lang="nl-NL" noProof="0"/>
              <a:t>Sogeti PowerPoint Referentie 2014</a:t>
            </a:r>
          </a:p>
        </p:txBody>
      </p:sp>
      <p:pic>
        <p:nvPicPr>
          <p:cNvPr id="6" name="Afbeelding 5">
            <a:extLst>
              <a:ext uri="{FF2B5EF4-FFF2-40B4-BE49-F238E27FC236}">
                <a16:creationId xmlns:a16="http://schemas.microsoft.com/office/drawing/2014/main" id="{DA768B74-2E5D-4081-8F4C-79EB786205E0}"/>
              </a:ext>
            </a:extLst>
          </p:cNvPr>
          <p:cNvPicPr>
            <a:picLocks noChangeAspect="1"/>
          </p:cNvPicPr>
          <p:nvPr/>
        </p:nvPicPr>
        <p:blipFill>
          <a:blip r:embed="rId3"/>
          <a:stretch>
            <a:fillRect/>
          </a:stretch>
        </p:blipFill>
        <p:spPr>
          <a:xfrm>
            <a:off x="886674" y="1731910"/>
            <a:ext cx="10415477" cy="3394181"/>
          </a:xfrm>
          <a:prstGeom prst="rect">
            <a:avLst/>
          </a:prstGeom>
          <a:ln>
            <a:solidFill>
              <a:schemeClr val="tx1"/>
            </a:solidFill>
          </a:ln>
        </p:spPr>
      </p:pic>
    </p:spTree>
    <p:extLst>
      <p:ext uri="{BB962C8B-B14F-4D97-AF65-F5344CB8AC3E}">
        <p14:creationId xmlns:p14="http://schemas.microsoft.com/office/powerpoint/2010/main" val="22289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197" dirty="0"/>
              <a:t>Demo</a:t>
            </a:r>
          </a:p>
        </p:txBody>
      </p:sp>
      <p:pic>
        <p:nvPicPr>
          <p:cNvPr id="3" name="Picture 2" descr="https://images.trvl-media.com/hotels/6000000/5540000/5538400/5538338/5538338_3_z.jpg">
            <a:extLst>
              <a:ext uri="{FF2B5EF4-FFF2-40B4-BE49-F238E27FC236}">
                <a16:creationId xmlns:a16="http://schemas.microsoft.com/office/drawing/2014/main" id="{1CF566B6-C3F6-4075-9593-86CF9132C33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934326" y="152400"/>
            <a:ext cx="3733800" cy="2483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7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757600-9A2A-4744-870C-BE2E5A8E5A94}"/>
              </a:ext>
            </a:extLst>
          </p:cNvPr>
          <p:cNvSpPr>
            <a:spLocks noGrp="1"/>
          </p:cNvSpPr>
          <p:nvPr>
            <p:ph type="title"/>
          </p:nvPr>
        </p:nvSpPr>
        <p:spPr/>
        <p:txBody>
          <a:bodyPr/>
          <a:lstStyle/>
          <a:p>
            <a:r>
              <a:rPr lang="nl-NL" dirty="0"/>
              <a:t>Automatiseren</a:t>
            </a:r>
          </a:p>
        </p:txBody>
      </p:sp>
      <p:sp>
        <p:nvSpPr>
          <p:cNvPr id="3" name="Content Placeholder 2"/>
          <p:cNvSpPr>
            <a:spLocks noGrp="1"/>
          </p:cNvSpPr>
          <p:nvPr>
            <p:ph idx="1"/>
          </p:nvPr>
        </p:nvSpPr>
        <p:spPr/>
        <p:txBody>
          <a:bodyPr/>
          <a:lstStyle/>
          <a:p>
            <a:pPr marL="560127" indent="-560127">
              <a:buFont typeface="Arial" panose="020B0604020202020204" pitchFamily="34" charset="0"/>
              <a:buChar char="•"/>
            </a:pPr>
            <a:r>
              <a:rPr lang="en-US" dirty="0"/>
              <a:t>PowerShell</a:t>
            </a:r>
          </a:p>
          <a:p>
            <a:pPr marL="560127" indent="-560127">
              <a:buFont typeface="Arial" panose="020B0604020202020204" pitchFamily="34" charset="0"/>
              <a:buChar char="•"/>
            </a:pPr>
            <a:endParaRPr lang="en-US" dirty="0"/>
          </a:p>
          <a:p>
            <a:pPr marL="560127" indent="-560127">
              <a:buFont typeface="Arial" panose="020B0604020202020204" pitchFamily="34" charset="0"/>
              <a:buChar char="•"/>
            </a:pPr>
            <a:r>
              <a:rPr lang="en-US" dirty="0"/>
              <a:t>AIP Scanner</a:t>
            </a:r>
          </a:p>
        </p:txBody>
      </p:sp>
      <p:pic>
        <p:nvPicPr>
          <p:cNvPr id="7" name="Picture 6" descr="Screen Clipping">
            <a:extLst>
              <a:ext uri="{FF2B5EF4-FFF2-40B4-BE49-F238E27FC236}">
                <a16:creationId xmlns:a16="http://schemas.microsoft.com/office/drawing/2014/main" id="{D3E4977C-AEB6-4708-9B31-EE3CB5E40C27}"/>
              </a:ext>
            </a:extLst>
          </p:cNvPr>
          <p:cNvPicPr>
            <a:picLocks noChangeAspect="1"/>
          </p:cNvPicPr>
          <p:nvPr/>
        </p:nvPicPr>
        <p:blipFill>
          <a:blip r:embed="rId3"/>
          <a:stretch>
            <a:fillRect/>
          </a:stretch>
        </p:blipFill>
        <p:spPr>
          <a:xfrm>
            <a:off x="7804298" y="1470585"/>
            <a:ext cx="3928646" cy="1404155"/>
          </a:xfrm>
          <a:prstGeom prst="rect">
            <a:avLst/>
          </a:prstGeom>
        </p:spPr>
      </p:pic>
      <p:pic>
        <p:nvPicPr>
          <p:cNvPr id="12" name="Picture 11" descr="Screen Clipping">
            <a:extLst>
              <a:ext uri="{FF2B5EF4-FFF2-40B4-BE49-F238E27FC236}">
                <a16:creationId xmlns:a16="http://schemas.microsoft.com/office/drawing/2014/main" id="{B3FB1791-56E1-4472-A665-CA41D5E0BF32}"/>
              </a:ext>
            </a:extLst>
          </p:cNvPr>
          <p:cNvPicPr>
            <a:picLocks noChangeAspect="1"/>
          </p:cNvPicPr>
          <p:nvPr/>
        </p:nvPicPr>
        <p:blipFill>
          <a:blip r:embed="rId4"/>
          <a:stretch>
            <a:fillRect/>
          </a:stretch>
        </p:blipFill>
        <p:spPr>
          <a:xfrm>
            <a:off x="7288910" y="2994524"/>
            <a:ext cx="4444218" cy="1977473"/>
          </a:xfrm>
          <a:prstGeom prst="rect">
            <a:avLst/>
          </a:prstGeom>
        </p:spPr>
      </p:pic>
      <p:pic>
        <p:nvPicPr>
          <p:cNvPr id="14" name="Picture 13">
            <a:extLst>
              <a:ext uri="{FF2B5EF4-FFF2-40B4-BE49-F238E27FC236}">
                <a16:creationId xmlns:a16="http://schemas.microsoft.com/office/drawing/2014/main" id="{4611D4D0-9676-4F53-946A-08BF9DADF3EF}"/>
              </a:ext>
            </a:extLst>
          </p:cNvPr>
          <p:cNvPicPr>
            <a:picLocks noChangeAspect="1"/>
          </p:cNvPicPr>
          <p:nvPr/>
        </p:nvPicPr>
        <p:blipFill>
          <a:blip r:embed="rId5"/>
          <a:stretch>
            <a:fillRect/>
          </a:stretch>
        </p:blipFill>
        <p:spPr>
          <a:xfrm>
            <a:off x="269234" y="3962462"/>
            <a:ext cx="5363631" cy="3393998"/>
          </a:xfrm>
          <a:prstGeom prst="rect">
            <a:avLst/>
          </a:prstGeom>
        </p:spPr>
      </p:pic>
      <p:pic>
        <p:nvPicPr>
          <p:cNvPr id="15" name="Picture 14">
            <a:extLst>
              <a:ext uri="{FF2B5EF4-FFF2-40B4-BE49-F238E27FC236}">
                <a16:creationId xmlns:a16="http://schemas.microsoft.com/office/drawing/2014/main" id="{038E8EA8-14A5-411E-9F7D-DEFA948F99F7}"/>
              </a:ext>
            </a:extLst>
          </p:cNvPr>
          <p:cNvPicPr>
            <a:picLocks noChangeAspect="1"/>
          </p:cNvPicPr>
          <p:nvPr/>
        </p:nvPicPr>
        <p:blipFill>
          <a:blip r:embed="rId6"/>
          <a:stretch>
            <a:fillRect/>
          </a:stretch>
        </p:blipFill>
        <p:spPr>
          <a:xfrm>
            <a:off x="5632865" y="5315083"/>
            <a:ext cx="6100263" cy="990222"/>
          </a:xfrm>
          <a:prstGeom prst="rect">
            <a:avLst/>
          </a:prstGeom>
        </p:spPr>
      </p:pic>
    </p:spTree>
    <p:extLst>
      <p:ext uri="{BB962C8B-B14F-4D97-AF65-F5344CB8AC3E}">
        <p14:creationId xmlns:p14="http://schemas.microsoft.com/office/powerpoint/2010/main" val="112590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Office 365 en </a:t>
            </a:r>
            <a:r>
              <a:rPr lang="nl-NL" dirty="0" err="1"/>
              <a:t>AzureIP</a:t>
            </a:r>
            <a:r>
              <a:rPr lang="nl-NL" dirty="0"/>
              <a:t> </a:t>
            </a:r>
          </a:p>
        </p:txBody>
      </p:sp>
      <p:sp>
        <p:nvSpPr>
          <p:cNvPr id="3" name="Content Placeholder 2"/>
          <p:cNvSpPr>
            <a:spLocks noGrp="1"/>
          </p:cNvSpPr>
          <p:nvPr>
            <p:ph idx="1"/>
          </p:nvPr>
        </p:nvSpPr>
        <p:spPr>
          <a:xfrm>
            <a:off x="456680" y="1714856"/>
            <a:ext cx="6908065" cy="3438784"/>
          </a:xfrm>
        </p:spPr>
        <p:txBody>
          <a:bodyPr/>
          <a:lstStyle/>
          <a:p>
            <a:pPr marL="560127" indent="-560127">
              <a:buFont typeface="Arial" panose="020B0604020202020204" pitchFamily="34" charset="0"/>
              <a:buChar char="•"/>
            </a:pPr>
            <a:r>
              <a:rPr lang="en-US" dirty="0"/>
              <a:t>Office 365 governance labels</a:t>
            </a:r>
          </a:p>
          <a:p>
            <a:pPr marL="560127" indent="-560127">
              <a:buFont typeface="Arial" panose="020B0604020202020204" pitchFamily="34" charset="0"/>
              <a:buChar char="•"/>
            </a:pPr>
            <a:endParaRPr lang="en-US" dirty="0"/>
          </a:p>
          <a:p>
            <a:pPr marL="560127" indent="-560127">
              <a:buFont typeface="Arial" panose="020B0604020202020204" pitchFamily="34" charset="0"/>
              <a:buChar char="•"/>
            </a:pPr>
            <a:r>
              <a:rPr lang="en-US" dirty="0"/>
              <a:t>SharePoint IRM and AIP </a:t>
            </a:r>
          </a:p>
          <a:p>
            <a:pPr marL="560127" indent="-560127">
              <a:buFont typeface="Arial" panose="020B0604020202020204" pitchFamily="34" charset="0"/>
              <a:buChar char="•"/>
            </a:pPr>
            <a:endParaRPr lang="en-US" dirty="0"/>
          </a:p>
          <a:p>
            <a:pPr marL="560127" indent="-560127">
              <a:buFont typeface="Arial" panose="020B0604020202020204" pitchFamily="34" charset="0"/>
              <a:buChar char="•"/>
            </a:pPr>
            <a:r>
              <a:rPr lang="en-US" dirty="0"/>
              <a:t>Sync AIP labels with SharePoint</a:t>
            </a:r>
          </a:p>
        </p:txBody>
      </p:sp>
      <p:pic>
        <p:nvPicPr>
          <p:cNvPr id="28" name="Picture 27"/>
          <p:cNvPicPr>
            <a:picLocks noChangeAspect="1"/>
          </p:cNvPicPr>
          <p:nvPr/>
        </p:nvPicPr>
        <p:blipFill>
          <a:blip r:embed="rId3"/>
          <a:stretch>
            <a:fillRect/>
          </a:stretch>
        </p:blipFill>
        <p:spPr>
          <a:xfrm>
            <a:off x="6924645" y="1721894"/>
            <a:ext cx="4781103" cy="4210983"/>
          </a:xfrm>
          <a:prstGeom prst="rect">
            <a:avLst/>
          </a:prstGeom>
          <a:ln>
            <a:solidFill>
              <a:schemeClr val="tx1"/>
            </a:solidFill>
          </a:ln>
        </p:spPr>
      </p:pic>
      <p:pic>
        <p:nvPicPr>
          <p:cNvPr id="9" name="Afbeelding 6">
            <a:extLst>
              <a:ext uri="{FF2B5EF4-FFF2-40B4-BE49-F238E27FC236}">
                <a16:creationId xmlns:a16="http://schemas.microsoft.com/office/drawing/2014/main" id="{E36A35CB-304A-4F4D-93A2-93F7A1D9C605}"/>
              </a:ext>
            </a:extLst>
          </p:cNvPr>
          <p:cNvPicPr/>
          <p:nvPr/>
        </p:nvPicPr>
        <p:blipFill rotWithShape="1">
          <a:blip r:embed="rId4">
            <a:extLst>
              <a:ext uri="{28A0092B-C50C-407E-A947-70E740481C1C}">
                <a14:useLocalDpi xmlns:a14="http://schemas.microsoft.com/office/drawing/2010/main" val="0"/>
              </a:ext>
            </a:extLst>
          </a:blip>
          <a:srcRect l="15185" t="21401" r="34175" b="5493"/>
          <a:stretch/>
        </p:blipFill>
        <p:spPr>
          <a:xfrm>
            <a:off x="7187960" y="2180625"/>
            <a:ext cx="4516742" cy="3293520"/>
          </a:xfrm>
          <a:prstGeom prst="rect">
            <a:avLst/>
          </a:prstGeom>
        </p:spPr>
      </p:pic>
      <p:grpSp>
        <p:nvGrpSpPr>
          <p:cNvPr id="11" name="Group 10">
            <a:extLst>
              <a:ext uri="{FF2B5EF4-FFF2-40B4-BE49-F238E27FC236}">
                <a16:creationId xmlns:a16="http://schemas.microsoft.com/office/drawing/2014/main" id="{45FB00E5-0D87-4BB2-9A81-A18975E69C9F}"/>
              </a:ext>
            </a:extLst>
          </p:cNvPr>
          <p:cNvGrpSpPr/>
          <p:nvPr/>
        </p:nvGrpSpPr>
        <p:grpSpPr>
          <a:xfrm>
            <a:off x="5957403" y="2926646"/>
            <a:ext cx="5747300" cy="2698570"/>
            <a:chOff x="6455478" y="2782276"/>
            <a:chExt cx="5864072" cy="2753399"/>
          </a:xfrm>
        </p:grpSpPr>
        <p:pic>
          <p:nvPicPr>
            <p:cNvPr id="6" name="Picture 5" descr="Screen Clipping">
              <a:extLst>
                <a:ext uri="{FF2B5EF4-FFF2-40B4-BE49-F238E27FC236}">
                  <a16:creationId xmlns:a16="http://schemas.microsoft.com/office/drawing/2014/main" id="{BC00CC8E-FB86-4E94-BCAF-3B6377BC0168}"/>
                </a:ext>
              </a:extLst>
            </p:cNvPr>
            <p:cNvPicPr>
              <a:picLocks noChangeAspect="1"/>
            </p:cNvPicPr>
            <p:nvPr/>
          </p:nvPicPr>
          <p:blipFill>
            <a:blip r:embed="rId5"/>
            <a:stretch>
              <a:fillRect/>
            </a:stretch>
          </p:blipFill>
          <p:spPr>
            <a:xfrm>
              <a:off x="6455478" y="2782276"/>
              <a:ext cx="5864072" cy="2753399"/>
            </a:xfrm>
            <a:prstGeom prst="rect">
              <a:avLst/>
            </a:prstGeom>
            <a:ln>
              <a:solidFill>
                <a:schemeClr val="tx2"/>
              </a:solidFill>
            </a:ln>
          </p:spPr>
        </p:pic>
        <p:sp>
          <p:nvSpPr>
            <p:cNvPr id="10" name="Rectangle: Rounded Corners 9">
              <a:extLst>
                <a:ext uri="{FF2B5EF4-FFF2-40B4-BE49-F238E27FC236}">
                  <a16:creationId xmlns:a16="http://schemas.microsoft.com/office/drawing/2014/main" id="{5E7843AA-A149-477C-A710-769ADECD12E9}"/>
                </a:ext>
              </a:extLst>
            </p:cNvPr>
            <p:cNvSpPr/>
            <p:nvPr/>
          </p:nvSpPr>
          <p:spPr bwMode="auto">
            <a:xfrm>
              <a:off x="11474821" y="2993206"/>
              <a:ext cx="772721" cy="2388328"/>
            </a:xfrm>
            <a:prstGeom prst="round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nl-NL" sz="2352"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291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500"/>
                                        <p:tgtEl>
                                          <p:spTgt spid="3">
                                            <p:txEl>
                                              <p:pRg st="4" end="4"/>
                                            </p:txEl>
                                          </p:spTgt>
                                        </p:tgtEl>
                                      </p:cBhvr>
                                    </p:animEffect>
                                  </p:childTnLst>
                                </p:cTn>
                              </p:par>
                              <p:par>
                                <p:cTn id="29" presetID="10" presetClass="exit" presetSubtype="0" fill="hold" nodeType="withEffect">
                                  <p:stCondLst>
                                    <p:cond delay="0"/>
                                  </p:stCondLst>
                                  <p:childTnLst>
                                    <p:animEffect transition="out" filter="fade">
                                      <p:cBhvr>
                                        <p:cTn id="30" dur="500"/>
                                        <p:tgtEl>
                                          <p:spTgt spid="9"/>
                                        </p:tgtEl>
                                      </p:cBhvr>
                                    </p:animEffect>
                                    <p:set>
                                      <p:cBhvr>
                                        <p:cTn id="31" dur="1" fill="hold">
                                          <p:stCondLst>
                                            <p:cond delay="499"/>
                                          </p:stCondLst>
                                        </p:cTn>
                                        <p:tgtEl>
                                          <p:spTgt spid="9"/>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5881" y="457200"/>
            <a:ext cx="11277063" cy="914400"/>
          </a:xfrm>
        </p:spPr>
        <p:txBody>
          <a:bodyPr/>
          <a:lstStyle/>
          <a:p>
            <a:r>
              <a:rPr lang="nl-NL" dirty="0"/>
              <a:t>Kortom</a:t>
            </a:r>
          </a:p>
        </p:txBody>
      </p:sp>
      <p:sp>
        <p:nvSpPr>
          <p:cNvPr id="5" name="Slide Number Placeholder 4"/>
          <p:cNvSpPr>
            <a:spLocks noGrp="1"/>
          </p:cNvSpPr>
          <p:nvPr>
            <p:ph type="sldNum" sz="quarter" idx="17"/>
          </p:nvPr>
        </p:nvSpPr>
        <p:spPr>
          <a:xfrm>
            <a:off x="10987550" y="6144036"/>
            <a:ext cx="287925" cy="256480"/>
          </a:xfrm>
        </p:spPr>
        <p:txBody>
          <a:bodyPr/>
          <a:lstStyle/>
          <a:p>
            <a:fld id="{4EACBA47-91FC-4F0F-98EF-AF8B449ABA17}" type="slidenum">
              <a:rPr lang="nl-NL">
                <a:solidFill>
                  <a:srgbClr val="FF4019"/>
                </a:solidFill>
                <a:latin typeface="Century Gothic"/>
              </a:rPr>
              <a:pPr/>
              <a:t>34</a:t>
            </a:fld>
            <a:endParaRPr lang="nl-NL">
              <a:solidFill>
                <a:srgbClr val="FF4019"/>
              </a:solidFill>
              <a:latin typeface="Century Gothic"/>
            </a:endParaRPr>
          </a:p>
        </p:txBody>
      </p:sp>
      <p:sp>
        <p:nvSpPr>
          <p:cNvPr id="6" name="Footer Placeholder 5"/>
          <p:cNvSpPr>
            <a:spLocks noGrp="1"/>
          </p:cNvSpPr>
          <p:nvPr>
            <p:ph type="ftr" sz="quarter" idx="18"/>
          </p:nvPr>
        </p:nvSpPr>
        <p:spPr>
          <a:xfrm>
            <a:off x="2054709" y="6144036"/>
            <a:ext cx="8825893" cy="256480"/>
          </a:xfrm>
        </p:spPr>
        <p:txBody>
          <a:bodyPr/>
          <a:lstStyle/>
          <a:p>
            <a:endParaRPr lang="nl-NL" dirty="0">
              <a:solidFill>
                <a:srgbClr val="000000"/>
              </a:solidFill>
              <a:latin typeface="Century Gothic"/>
            </a:endParaRPr>
          </a:p>
        </p:txBody>
      </p:sp>
      <p:sp>
        <p:nvSpPr>
          <p:cNvPr id="9" name="Rectangle 8"/>
          <p:cNvSpPr/>
          <p:nvPr/>
        </p:nvSpPr>
        <p:spPr>
          <a:xfrm>
            <a:off x="455342" y="1450340"/>
            <a:ext cx="2743469"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t>Office 365</a:t>
            </a:r>
          </a:p>
        </p:txBody>
      </p:sp>
      <p:sp>
        <p:nvSpPr>
          <p:cNvPr id="11" name="Rectangle 10"/>
          <p:cNvSpPr/>
          <p:nvPr/>
        </p:nvSpPr>
        <p:spPr>
          <a:xfrm>
            <a:off x="455342" y="2476711"/>
            <a:ext cx="2743469" cy="32121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l-NL" sz="1200" dirty="0"/>
              <a:t>Single </a:t>
            </a:r>
            <a:r>
              <a:rPr lang="nl-NL" sz="1200" dirty="0" err="1"/>
              <a:t>sign</a:t>
            </a:r>
            <a:r>
              <a:rPr lang="nl-NL" sz="1200" dirty="0"/>
              <a:t>-on Office 365</a:t>
            </a:r>
            <a:endParaRPr lang="nl-NL" sz="1600" dirty="0"/>
          </a:p>
          <a:p>
            <a:r>
              <a:rPr lang="nl-NL" sz="1200" dirty="0"/>
              <a:t>MFA Office 365</a:t>
            </a:r>
          </a:p>
          <a:p>
            <a:r>
              <a:rPr lang="nl-NL" sz="1200" dirty="0"/>
              <a:t>Adv. Security management Office 365</a:t>
            </a:r>
          </a:p>
          <a:p>
            <a:r>
              <a:rPr lang="nl-NL" sz="1200" dirty="0"/>
              <a:t>Basic Mobile Device Management</a:t>
            </a:r>
          </a:p>
          <a:p>
            <a:r>
              <a:rPr lang="nl-NL" sz="1200" dirty="0"/>
              <a:t>RMS </a:t>
            </a:r>
            <a:r>
              <a:rPr lang="nl-NL" sz="1200" dirty="0" err="1"/>
              <a:t>for</a:t>
            </a:r>
            <a:r>
              <a:rPr lang="nl-NL" sz="1200" dirty="0"/>
              <a:t> Office 365</a:t>
            </a:r>
          </a:p>
          <a:p>
            <a:r>
              <a:rPr lang="nl-NL" sz="1200" dirty="0" err="1"/>
              <a:t>Conditional</a:t>
            </a:r>
            <a:r>
              <a:rPr lang="nl-NL" sz="1200" dirty="0"/>
              <a:t> access</a:t>
            </a:r>
          </a:p>
          <a:p>
            <a:r>
              <a:rPr lang="nl-NL" sz="1200" dirty="0"/>
              <a:t>Data </a:t>
            </a:r>
            <a:r>
              <a:rPr lang="nl-NL" sz="1200" dirty="0" err="1"/>
              <a:t>loss</a:t>
            </a:r>
            <a:r>
              <a:rPr lang="nl-NL" sz="1200" dirty="0"/>
              <a:t> prevention</a:t>
            </a:r>
          </a:p>
          <a:p>
            <a:r>
              <a:rPr lang="nl-NL" sz="1200" dirty="0"/>
              <a:t>Adv. Data governance</a:t>
            </a:r>
          </a:p>
          <a:p>
            <a:r>
              <a:rPr lang="nl-NL" sz="1200" dirty="0"/>
              <a:t>Audit log search</a:t>
            </a:r>
          </a:p>
          <a:p>
            <a:r>
              <a:rPr lang="nl-NL" sz="1200" dirty="0"/>
              <a:t>Customer </a:t>
            </a:r>
            <a:r>
              <a:rPr lang="nl-NL" sz="1200" dirty="0" err="1"/>
              <a:t>lock</a:t>
            </a:r>
            <a:r>
              <a:rPr lang="nl-NL" sz="1200" dirty="0"/>
              <a:t>-box</a:t>
            </a:r>
          </a:p>
          <a:p>
            <a:endParaRPr lang="nl-NL" sz="1200" dirty="0"/>
          </a:p>
          <a:p>
            <a:endParaRPr lang="nl-NL" sz="1050" dirty="0"/>
          </a:p>
        </p:txBody>
      </p:sp>
      <p:sp>
        <p:nvSpPr>
          <p:cNvPr id="12" name="Rectangle 11"/>
          <p:cNvSpPr/>
          <p:nvPr/>
        </p:nvSpPr>
        <p:spPr>
          <a:xfrm>
            <a:off x="3287443" y="1450340"/>
            <a:ext cx="2743469"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t>Windows 10</a:t>
            </a:r>
          </a:p>
        </p:txBody>
      </p:sp>
      <p:sp>
        <p:nvSpPr>
          <p:cNvPr id="14" name="Rectangle 13"/>
          <p:cNvSpPr/>
          <p:nvPr/>
        </p:nvSpPr>
        <p:spPr>
          <a:xfrm>
            <a:off x="3287443" y="2476711"/>
            <a:ext cx="2743469" cy="34333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l-NL" sz="1200" dirty="0"/>
              <a:t>Windows </a:t>
            </a:r>
            <a:r>
              <a:rPr lang="nl-NL" sz="1200" dirty="0" err="1"/>
              <a:t>Defender</a:t>
            </a:r>
            <a:endParaRPr lang="nl-NL" sz="1200" dirty="0"/>
          </a:p>
          <a:p>
            <a:r>
              <a:rPr lang="nl-NL" sz="1200" dirty="0"/>
              <a:t>Windows </a:t>
            </a:r>
            <a:r>
              <a:rPr lang="nl-NL" sz="1200" dirty="0" err="1"/>
              <a:t>Hello</a:t>
            </a:r>
            <a:endParaRPr lang="nl-NL" sz="1200" dirty="0"/>
          </a:p>
          <a:p>
            <a:r>
              <a:rPr lang="nl-NL" sz="1200" dirty="0" err="1"/>
              <a:t>Edge</a:t>
            </a:r>
            <a:endParaRPr lang="nl-NL" sz="1200" dirty="0"/>
          </a:p>
          <a:p>
            <a:r>
              <a:rPr lang="nl-NL" sz="1200" dirty="0"/>
              <a:t>Device </a:t>
            </a:r>
            <a:r>
              <a:rPr lang="nl-NL" sz="1200" dirty="0" err="1"/>
              <a:t>Guard</a:t>
            </a:r>
            <a:endParaRPr lang="nl-NL" sz="1200" dirty="0"/>
          </a:p>
          <a:p>
            <a:r>
              <a:rPr lang="nl-NL" sz="1200" dirty="0"/>
              <a:t>Wind. </a:t>
            </a:r>
            <a:r>
              <a:rPr lang="nl-NL" sz="1200" dirty="0" err="1"/>
              <a:t>Def</a:t>
            </a:r>
            <a:r>
              <a:rPr lang="nl-NL" sz="1200" dirty="0"/>
              <a:t>. Adv. </a:t>
            </a:r>
            <a:r>
              <a:rPr lang="nl-NL" sz="1200" dirty="0" err="1"/>
              <a:t>Threat</a:t>
            </a:r>
            <a:endParaRPr lang="nl-NL" sz="1200" dirty="0"/>
          </a:p>
          <a:p>
            <a:r>
              <a:rPr lang="nl-NL" sz="1200" dirty="0"/>
              <a:t>Device Health</a:t>
            </a:r>
          </a:p>
          <a:p>
            <a:endParaRPr lang="nl-NL" sz="1200" dirty="0"/>
          </a:p>
          <a:p>
            <a:r>
              <a:rPr lang="nl-NL" sz="1200" dirty="0"/>
              <a:t> </a:t>
            </a:r>
          </a:p>
        </p:txBody>
      </p:sp>
      <p:sp>
        <p:nvSpPr>
          <p:cNvPr id="15" name="Rectangle 14"/>
          <p:cNvSpPr/>
          <p:nvPr/>
        </p:nvSpPr>
        <p:spPr>
          <a:xfrm>
            <a:off x="6119677" y="1450340"/>
            <a:ext cx="5613267"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000" dirty="0"/>
              <a:t>Enterprise Mobility + Security</a:t>
            </a:r>
          </a:p>
        </p:txBody>
      </p:sp>
      <p:sp>
        <p:nvSpPr>
          <p:cNvPr id="17" name="Rectangle 16"/>
          <p:cNvSpPr/>
          <p:nvPr/>
        </p:nvSpPr>
        <p:spPr>
          <a:xfrm>
            <a:off x="6119677" y="2476711"/>
            <a:ext cx="5613267" cy="41526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l-NL" sz="1200" dirty="0"/>
              <a:t>Single </a:t>
            </a:r>
            <a:r>
              <a:rPr lang="nl-NL" sz="1200" dirty="0" err="1"/>
              <a:t>sign</a:t>
            </a:r>
            <a:r>
              <a:rPr lang="nl-NL" sz="1200" dirty="0"/>
              <a:t>-in SaaS </a:t>
            </a:r>
            <a:r>
              <a:rPr lang="nl-NL" sz="1200" dirty="0" err="1"/>
              <a:t>applications</a:t>
            </a:r>
            <a:endParaRPr lang="nl-NL" sz="1200" dirty="0"/>
          </a:p>
          <a:p>
            <a:r>
              <a:rPr lang="nl-NL" sz="1200" dirty="0"/>
              <a:t>Full MDM</a:t>
            </a:r>
          </a:p>
          <a:p>
            <a:r>
              <a:rPr lang="nl-NL" sz="1200" dirty="0" err="1"/>
              <a:t>Conditional</a:t>
            </a:r>
            <a:r>
              <a:rPr lang="nl-NL" sz="1200" dirty="0"/>
              <a:t> </a:t>
            </a:r>
            <a:r>
              <a:rPr lang="nl-NL" sz="1200" dirty="0" err="1"/>
              <a:t>accesss</a:t>
            </a:r>
            <a:r>
              <a:rPr lang="nl-NL" sz="1200" dirty="0"/>
              <a:t> </a:t>
            </a:r>
          </a:p>
          <a:p>
            <a:r>
              <a:rPr lang="nl-NL" sz="1200" dirty="0" err="1"/>
              <a:t>Labeling</a:t>
            </a:r>
            <a:r>
              <a:rPr lang="nl-NL" sz="1200" dirty="0"/>
              <a:t> (</a:t>
            </a:r>
            <a:r>
              <a:rPr lang="nl-NL" sz="1200" dirty="0" err="1"/>
              <a:t>Azure</a:t>
            </a:r>
            <a:r>
              <a:rPr lang="nl-NL" sz="1200" dirty="0"/>
              <a:t> Info </a:t>
            </a:r>
            <a:r>
              <a:rPr lang="nl-NL" sz="1200" dirty="0" err="1"/>
              <a:t>Protection</a:t>
            </a:r>
            <a:r>
              <a:rPr lang="nl-NL" sz="1200" dirty="0"/>
              <a:t>)</a:t>
            </a:r>
          </a:p>
          <a:p>
            <a:r>
              <a:rPr lang="nl-NL" sz="1200" dirty="0"/>
              <a:t>Advanced </a:t>
            </a:r>
            <a:r>
              <a:rPr lang="nl-NL" sz="1200" dirty="0" err="1"/>
              <a:t>Threat</a:t>
            </a:r>
            <a:r>
              <a:rPr lang="nl-NL" sz="1200" dirty="0"/>
              <a:t> Analysis</a:t>
            </a:r>
          </a:p>
          <a:p>
            <a:r>
              <a:rPr lang="nl-NL" sz="1200" dirty="0"/>
              <a:t>Versleutelde e-mail</a:t>
            </a:r>
          </a:p>
          <a:p>
            <a:r>
              <a:rPr lang="nl-NL" sz="1200" dirty="0"/>
              <a:t>Advanced data </a:t>
            </a:r>
            <a:r>
              <a:rPr lang="nl-NL" sz="1200" dirty="0" err="1"/>
              <a:t>governance</a:t>
            </a:r>
            <a:endParaRPr lang="nl-NL" sz="1200" dirty="0"/>
          </a:p>
          <a:p>
            <a:r>
              <a:rPr lang="nl-NL" sz="1200" dirty="0"/>
              <a:t>eDiscovery</a:t>
            </a:r>
          </a:p>
          <a:p>
            <a:r>
              <a:rPr lang="nl-NL" sz="1200" dirty="0"/>
              <a:t>Audit log search</a:t>
            </a:r>
          </a:p>
          <a:p>
            <a:r>
              <a:rPr lang="nl-NL" sz="1200" dirty="0"/>
              <a:t>Azure AD </a:t>
            </a:r>
            <a:r>
              <a:rPr lang="nl-NL" sz="1200" dirty="0" err="1"/>
              <a:t>privileged</a:t>
            </a:r>
            <a:r>
              <a:rPr lang="nl-NL" sz="1200" dirty="0"/>
              <a:t> accountmanagement</a:t>
            </a:r>
          </a:p>
          <a:p>
            <a:r>
              <a:rPr lang="nl-NL" sz="1200" dirty="0"/>
              <a:t>Risk </a:t>
            </a:r>
            <a:r>
              <a:rPr lang="nl-NL" sz="1200" dirty="0" err="1"/>
              <a:t>based</a:t>
            </a:r>
            <a:r>
              <a:rPr lang="nl-NL" sz="1200" dirty="0"/>
              <a:t> </a:t>
            </a:r>
            <a:r>
              <a:rPr lang="nl-NL" sz="1200" dirty="0" err="1"/>
              <a:t>conditional</a:t>
            </a:r>
            <a:r>
              <a:rPr lang="nl-NL" sz="1200" dirty="0"/>
              <a:t> access</a:t>
            </a:r>
          </a:p>
          <a:p>
            <a:r>
              <a:rPr lang="nl-NL" sz="1200" dirty="0"/>
              <a:t>Azure AD identity </a:t>
            </a:r>
            <a:r>
              <a:rPr lang="nl-NL" sz="1200" dirty="0" err="1"/>
              <a:t>protection</a:t>
            </a:r>
            <a:endParaRPr lang="nl-NL" sz="1200" dirty="0"/>
          </a:p>
          <a:p>
            <a:r>
              <a:rPr lang="nl-NL" sz="1200" dirty="0"/>
              <a:t>B2B </a:t>
            </a:r>
            <a:r>
              <a:rPr lang="nl-NL" sz="1200" dirty="0" err="1"/>
              <a:t>Collaboration</a:t>
            </a:r>
            <a:endParaRPr lang="nl-NL" sz="1200" dirty="0"/>
          </a:p>
          <a:p>
            <a:r>
              <a:rPr lang="nl-NL" sz="1200" dirty="0" err="1"/>
              <a:t>Bring</a:t>
            </a:r>
            <a:r>
              <a:rPr lang="nl-NL" sz="1200" dirty="0"/>
              <a:t> </a:t>
            </a:r>
            <a:r>
              <a:rPr lang="nl-NL" sz="1200" dirty="0" err="1"/>
              <a:t>your</a:t>
            </a:r>
            <a:r>
              <a:rPr lang="nl-NL" sz="1200" dirty="0"/>
              <a:t> </a:t>
            </a:r>
            <a:r>
              <a:rPr lang="nl-NL" sz="1200" dirty="0" err="1"/>
              <a:t>own</a:t>
            </a:r>
            <a:r>
              <a:rPr lang="nl-NL" sz="1200" dirty="0"/>
              <a:t> </a:t>
            </a:r>
            <a:r>
              <a:rPr lang="nl-NL" sz="1200" dirty="0" err="1"/>
              <a:t>key</a:t>
            </a:r>
            <a:endParaRPr lang="nl-NL" sz="1200" dirty="0"/>
          </a:p>
          <a:p>
            <a:r>
              <a:rPr lang="nl-NL" sz="1200" dirty="0"/>
              <a:t>SQL Always </a:t>
            </a:r>
            <a:r>
              <a:rPr lang="nl-NL" sz="1200" dirty="0" err="1"/>
              <a:t>encrypted</a:t>
            </a:r>
            <a:endParaRPr lang="nl-NL" sz="1200" dirty="0"/>
          </a:p>
          <a:p>
            <a:r>
              <a:rPr lang="nl-NL" sz="1200" dirty="0"/>
              <a:t>Advanced MFA</a:t>
            </a:r>
          </a:p>
          <a:p>
            <a:r>
              <a:rPr lang="nl-NL" sz="1200" dirty="0"/>
              <a:t>Cloud App Security</a:t>
            </a:r>
          </a:p>
          <a:p>
            <a:r>
              <a:rPr lang="nl-NL" sz="1200" dirty="0"/>
              <a:t>Users </a:t>
            </a:r>
            <a:r>
              <a:rPr lang="nl-NL" sz="1200" dirty="0" err="1"/>
              <a:t>self-service</a:t>
            </a:r>
            <a:r>
              <a:rPr lang="nl-NL" sz="1200" dirty="0"/>
              <a:t> management</a:t>
            </a:r>
          </a:p>
          <a:p>
            <a:r>
              <a:rPr lang="nl-NL" sz="1200" dirty="0" err="1"/>
              <a:t>Certificate</a:t>
            </a:r>
            <a:r>
              <a:rPr lang="nl-NL" sz="1200" dirty="0"/>
              <a:t> </a:t>
            </a:r>
            <a:r>
              <a:rPr lang="nl-NL" sz="1200" dirty="0" err="1"/>
              <a:t>provisioning</a:t>
            </a:r>
            <a:endParaRPr lang="nl-NL" sz="1200" dirty="0"/>
          </a:p>
          <a:p>
            <a:r>
              <a:rPr lang="nl-NL" sz="1200" dirty="0"/>
              <a:t>Workstation management</a:t>
            </a:r>
          </a:p>
          <a:p>
            <a:r>
              <a:rPr lang="nl-NL" sz="1200" dirty="0"/>
              <a:t>Azure Information Protection</a:t>
            </a:r>
          </a:p>
          <a:p>
            <a:endParaRPr lang="nl-NL" sz="1200" dirty="0"/>
          </a:p>
        </p:txBody>
      </p:sp>
    </p:spTree>
    <p:extLst>
      <p:ext uri="{BB962C8B-B14F-4D97-AF65-F5344CB8AC3E}">
        <p14:creationId xmlns:p14="http://schemas.microsoft.com/office/powerpoint/2010/main" val="345316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descr="Afbeeldingsresultaat voor nor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20" y="-4854"/>
            <a:ext cx="12757892"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1240191" y="761086"/>
            <a:ext cx="3143633" cy="388711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l" defTabSz="913280" rtl="0" eaLnBrk="1" fontAlgn="base" latinLnBrk="0" hangingPunct="1">
              <a:lnSpc>
                <a:spcPct val="90000"/>
              </a:lnSpc>
              <a:spcBef>
                <a:spcPct val="0"/>
              </a:spcBef>
              <a:spcAft>
                <a:spcPct val="0"/>
              </a:spcAft>
              <a:buClrTx/>
              <a:buSzTx/>
              <a:buFontTx/>
              <a:buNone/>
              <a:tabLst/>
              <a:defRPr/>
            </a:pPr>
            <a:endParaRPr kumimoji="0" lang="en-US" sz="2154"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4" name="Title 3"/>
          <p:cNvSpPr>
            <a:spLocks noGrp="1"/>
          </p:cNvSpPr>
          <p:nvPr>
            <p:ph type="title" idx="4294967295"/>
          </p:nvPr>
        </p:nvSpPr>
        <p:spPr>
          <a:xfrm>
            <a:off x="1432662" y="757099"/>
            <a:ext cx="2855530" cy="738664"/>
          </a:xfrm>
        </p:spPr>
        <p:txBody>
          <a:bodyPr vert="horz" wrap="square" lIns="91440" tIns="91440" rIns="91440" bIns="91440" rtlCol="0" anchor="ctr">
            <a:spAutoFit/>
          </a:bodyPr>
          <a:lstStyle/>
          <a:p>
            <a:pPr algn="l" defTabSz="1088105">
              <a:lnSpc>
                <a:spcPct val="90000"/>
              </a:lnSpc>
            </a:pPr>
            <a:r>
              <a:rPr lang="en-US" sz="4000" b="0" i="0" spc="-58" dirty="0">
                <a:latin typeface="Segoe UI Light" pitchFamily="34" charset="0"/>
                <a:ea typeface="Segoe UI" pitchFamily="34" charset="0"/>
                <a:cs typeface="Segoe UI" pitchFamily="34" charset="0"/>
              </a:rPr>
              <a:t>Discover</a:t>
            </a:r>
          </a:p>
        </p:txBody>
      </p:sp>
      <p:sp>
        <p:nvSpPr>
          <p:cNvPr id="6" name="Text Placeholder 5"/>
          <p:cNvSpPr>
            <a:spLocks noGrp="1"/>
          </p:cNvSpPr>
          <p:nvPr>
            <p:ph type="body" sz="quarter" idx="4294967295"/>
          </p:nvPr>
        </p:nvSpPr>
        <p:spPr>
          <a:xfrm>
            <a:off x="1432662" y="1593045"/>
            <a:ext cx="2688166" cy="2885053"/>
          </a:xfrm>
        </p:spPr>
        <p:txBody>
          <a:bodyPr vert="horz" lIns="0" tIns="91416" rIns="0" bIns="45708" rtlCol="0">
            <a:noAutofit/>
          </a:bodyPr>
          <a:lstStyle/>
          <a:p>
            <a:pPr marL="171450" indent="-171450">
              <a:spcBef>
                <a:spcPts val="1200"/>
              </a:spcBef>
              <a:buClr>
                <a:schemeClr val="bg1"/>
              </a:buClr>
              <a:buFont typeface="Arial" panose="020B0604020202020204" pitchFamily="34" charset="0"/>
              <a:buChar char="•"/>
            </a:pPr>
            <a:r>
              <a:rPr lang="en-US" sz="1400" dirty="0">
                <a:solidFill>
                  <a:schemeClr val="accent1"/>
                </a:solidFill>
              </a:rPr>
              <a:t>Azure Information Protection</a:t>
            </a:r>
          </a:p>
          <a:p>
            <a:pPr marL="171450" indent="-171450">
              <a:spcBef>
                <a:spcPts val="1200"/>
              </a:spcBef>
              <a:buClr>
                <a:schemeClr val="bg1"/>
              </a:buClr>
              <a:buFont typeface="Arial" panose="020B0604020202020204" pitchFamily="34" charset="0"/>
              <a:buChar char="•"/>
            </a:pPr>
            <a:r>
              <a:rPr lang="en-US" sz="1400" dirty="0">
                <a:solidFill>
                  <a:schemeClr val="accent1"/>
                </a:solidFill>
              </a:rPr>
              <a:t>Office 365 eDiscovery</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Data Factory </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HDInsight </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Data Catalog </a:t>
            </a:r>
          </a:p>
          <a:p>
            <a:pPr marL="171450" indent="-171450">
              <a:spcBef>
                <a:spcPts val="1200"/>
              </a:spcBef>
              <a:buClr>
                <a:schemeClr val="bg1"/>
              </a:buClr>
              <a:buFont typeface="Arial" panose="020B0604020202020204" pitchFamily="34" charset="0"/>
              <a:buChar char="•"/>
            </a:pPr>
            <a:endParaRPr lang="en-US" sz="1400" dirty="0">
              <a:solidFill>
                <a:schemeClr val="accent1"/>
              </a:solidFill>
            </a:endParaRP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p:txBody>
      </p:sp>
      <p:sp>
        <p:nvSpPr>
          <p:cNvPr id="7" name="Text Placeholder 5"/>
          <p:cNvSpPr txBox="1">
            <a:spLocks/>
          </p:cNvSpPr>
          <p:nvPr/>
        </p:nvSpPr>
        <p:spPr>
          <a:xfrm>
            <a:off x="912812" y="2322602"/>
            <a:ext cx="3887252" cy="1326357"/>
          </a:xfrm>
          <a:prstGeom prst="rect">
            <a:avLst/>
          </a:prstGeom>
        </p:spPr>
        <p:txBody>
          <a:bodyPr vert="horz" lIns="0" tIns="91416" rIns="182832" bIns="45708" rtlCol="0">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200"/>
              </a:spcBef>
              <a:spcAft>
                <a:spcPts val="0"/>
              </a:spcAft>
              <a:buClr>
                <a:srgbClr val="0072C6"/>
              </a:buClr>
              <a:buSzPct val="100000"/>
              <a:buFont typeface="Wingdings" pitchFamily="2" charset="2"/>
              <a:buNone/>
              <a:tabLst/>
              <a:defRPr/>
            </a:pPr>
            <a:endParaRPr kumimoji="0" lang="en-US" sz="1999" b="0" i="0" u="none" strike="noStrike" kern="1200" cap="none" spc="0" normalizeH="0" baseline="0" noProof="0" dirty="0">
              <a:ln>
                <a:noFill/>
              </a:ln>
              <a:solidFill>
                <a:srgbClr val="FBFBFB"/>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29" name="Straight Arrow Connector 28"/>
          <p:cNvCxnSpPr>
            <a:cxnSpLocks/>
          </p:cNvCxnSpPr>
          <p:nvPr/>
        </p:nvCxnSpPr>
        <p:spPr>
          <a:xfrm flipH="1">
            <a:off x="6955191" y="833643"/>
            <a:ext cx="1143000" cy="361123"/>
          </a:xfrm>
          <a:prstGeom prst="straightConnector1">
            <a:avLst/>
          </a:prstGeom>
          <a:ln w="25400">
            <a:solidFill>
              <a:schemeClr val="tx2">
                <a:alpha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7" name="Rectangle 11">
            <a:extLst>
              <a:ext uri="{FF2B5EF4-FFF2-40B4-BE49-F238E27FC236}">
                <a16:creationId xmlns:a16="http://schemas.microsoft.com/office/drawing/2014/main" id="{1771215B-B43D-4262-BF65-E5C1E773F8B0}"/>
              </a:ext>
            </a:extLst>
          </p:cNvPr>
          <p:cNvSpPr/>
          <p:nvPr/>
        </p:nvSpPr>
        <p:spPr bwMode="auto">
          <a:xfrm>
            <a:off x="4755634" y="761086"/>
            <a:ext cx="3143633" cy="388711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l" defTabSz="913280" rtl="0" eaLnBrk="1" fontAlgn="base" latinLnBrk="0" hangingPunct="1">
              <a:lnSpc>
                <a:spcPct val="90000"/>
              </a:lnSpc>
              <a:spcBef>
                <a:spcPct val="0"/>
              </a:spcBef>
              <a:spcAft>
                <a:spcPct val="0"/>
              </a:spcAft>
              <a:buClrTx/>
              <a:buSzTx/>
              <a:buFontTx/>
              <a:buNone/>
              <a:tabLst/>
              <a:defRPr/>
            </a:pPr>
            <a:endParaRPr kumimoji="0" lang="en-US" sz="2154"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19" name="Title 3">
            <a:extLst>
              <a:ext uri="{FF2B5EF4-FFF2-40B4-BE49-F238E27FC236}">
                <a16:creationId xmlns:a16="http://schemas.microsoft.com/office/drawing/2014/main" id="{57BC1159-03CB-4B07-834D-1266887D0822}"/>
              </a:ext>
            </a:extLst>
          </p:cNvPr>
          <p:cNvSpPr txBox="1">
            <a:spLocks/>
          </p:cNvSpPr>
          <p:nvPr/>
        </p:nvSpPr>
        <p:spPr>
          <a:xfrm>
            <a:off x="4903674" y="757099"/>
            <a:ext cx="2813518" cy="738664"/>
          </a:xfrm>
          <a:prstGeom prst="rect">
            <a:avLst/>
          </a:prstGeom>
        </p:spPr>
        <p:txBody>
          <a:bodyPr vert="horz" wrap="square" lIns="91440" tIns="91440" rIns="91440" bIns="91440" rtlCol="0" anchor="ctr">
            <a:spAutoFit/>
          </a:bodyPr>
          <a:lstStyle>
            <a:lvl1pPr algn="ctr" defTabSz="913954" rtl="0" eaLnBrk="1" latinLnBrk="0" hangingPunct="1">
              <a:spcBef>
                <a:spcPct val="0"/>
              </a:spcBef>
              <a:buNone/>
              <a:defRPr lang="en-US" sz="7998" b="1" i="1" u="none" kern="1200" spc="0" baseline="0" dirty="0" smtClean="0">
                <a:solidFill>
                  <a:schemeClr val="accent1"/>
                </a:solidFill>
                <a:latin typeface="+mj-lt"/>
                <a:ea typeface="+mn-ea"/>
                <a:cs typeface="+mn-cs"/>
              </a:defRPr>
            </a:lvl1pPr>
          </a:lstStyle>
          <a:p>
            <a:pPr algn="l" defTabSz="1088105">
              <a:lnSpc>
                <a:spcPct val="90000"/>
              </a:lnSpc>
            </a:pPr>
            <a:r>
              <a:rPr lang="nl-NL" sz="4000" b="0" i="0" spc="-58" dirty="0" err="1">
                <a:latin typeface="Segoe UI Light" pitchFamily="34" charset="0"/>
                <a:ea typeface="Segoe UI" pitchFamily="34" charset="0"/>
                <a:cs typeface="Segoe UI" pitchFamily="34" charset="0"/>
              </a:rPr>
              <a:t>Protect</a:t>
            </a:r>
            <a:endParaRPr lang="nl-NL" sz="4000" b="0" i="0" spc="-58" dirty="0">
              <a:latin typeface="Segoe UI Light" pitchFamily="34" charset="0"/>
              <a:ea typeface="Segoe UI" pitchFamily="34" charset="0"/>
              <a:cs typeface="Segoe UI" pitchFamily="34" charset="0"/>
            </a:endParaRPr>
          </a:p>
        </p:txBody>
      </p:sp>
      <p:sp>
        <p:nvSpPr>
          <p:cNvPr id="20" name="Text Placeholder 5">
            <a:extLst>
              <a:ext uri="{FF2B5EF4-FFF2-40B4-BE49-F238E27FC236}">
                <a16:creationId xmlns:a16="http://schemas.microsoft.com/office/drawing/2014/main" id="{CD787D32-2301-45DE-8948-1C3BDCE64BDE}"/>
              </a:ext>
            </a:extLst>
          </p:cNvPr>
          <p:cNvSpPr txBox="1">
            <a:spLocks/>
          </p:cNvSpPr>
          <p:nvPr/>
        </p:nvSpPr>
        <p:spPr>
          <a:xfrm>
            <a:off x="4903674" y="1593046"/>
            <a:ext cx="2721302" cy="2885053"/>
          </a:xfrm>
          <a:prstGeom prst="rect">
            <a:avLst/>
          </a:prstGeom>
        </p:spPr>
        <p:txBody>
          <a:bodyPr vert="horz" lIns="0" tIns="91416" rIns="0" bIns="45708" rtlCol="0">
            <a:noAutofit/>
          </a:bodyPr>
          <a:lst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71450" indent="-171450">
              <a:spcBef>
                <a:spcPts val="1200"/>
              </a:spcBef>
              <a:buClr>
                <a:schemeClr val="bg1"/>
              </a:buClr>
              <a:buFont typeface="Arial" panose="020B0604020202020204" pitchFamily="34" charset="0"/>
              <a:buChar char="•"/>
            </a:pPr>
            <a:r>
              <a:rPr lang="en-US" sz="1400" dirty="0">
                <a:solidFill>
                  <a:schemeClr val="accent1"/>
                </a:solidFill>
              </a:rPr>
              <a:t>Data governance</a:t>
            </a:r>
          </a:p>
          <a:p>
            <a:pPr marL="171450" indent="-171450">
              <a:spcBef>
                <a:spcPts val="1200"/>
              </a:spcBef>
              <a:buClr>
                <a:schemeClr val="bg1"/>
              </a:buClr>
              <a:buFont typeface="Arial" panose="020B0604020202020204" pitchFamily="34" charset="0"/>
              <a:buChar char="•"/>
            </a:pPr>
            <a:r>
              <a:rPr lang="en-US" sz="1400" dirty="0">
                <a:solidFill>
                  <a:schemeClr val="accent1"/>
                </a:solidFill>
              </a:rPr>
              <a:t>Data loss prevention</a:t>
            </a:r>
          </a:p>
          <a:p>
            <a:pPr marL="171450" indent="-171450">
              <a:spcBef>
                <a:spcPts val="1200"/>
              </a:spcBef>
              <a:buClr>
                <a:schemeClr val="bg1"/>
              </a:buClr>
              <a:buFont typeface="Arial" panose="020B0604020202020204" pitchFamily="34" charset="0"/>
              <a:buChar char="•"/>
            </a:pPr>
            <a:r>
              <a:rPr lang="en-US" sz="1400" dirty="0">
                <a:solidFill>
                  <a:schemeClr val="accent1"/>
                </a:solidFill>
              </a:rPr>
              <a:t>Mobile Device Management </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Information Protection </a:t>
            </a:r>
          </a:p>
          <a:p>
            <a:pPr marL="171450" indent="-171450">
              <a:spcBef>
                <a:spcPts val="1200"/>
              </a:spcBef>
              <a:buClr>
                <a:schemeClr val="bg1"/>
              </a:buClr>
              <a:buFont typeface="Arial" panose="020B0604020202020204" pitchFamily="34" charset="0"/>
              <a:buChar char="•"/>
            </a:pPr>
            <a:r>
              <a:rPr lang="en-US" sz="1400" dirty="0">
                <a:solidFill>
                  <a:schemeClr val="accent1"/>
                </a:solidFill>
              </a:rPr>
              <a:t>Office 365 Message Encryption </a:t>
            </a:r>
          </a:p>
          <a:p>
            <a:pPr marL="171450" indent="-171450">
              <a:spcBef>
                <a:spcPts val="1200"/>
              </a:spcBef>
              <a:buClr>
                <a:schemeClr val="bg1"/>
              </a:buClr>
              <a:buFont typeface="Arial" panose="020B0604020202020204" pitchFamily="34" charset="0"/>
              <a:buChar char="•"/>
            </a:pPr>
            <a:r>
              <a:rPr lang="en-US" sz="1400" dirty="0">
                <a:solidFill>
                  <a:schemeClr val="accent1"/>
                </a:solidFill>
              </a:rPr>
              <a:t>Microsoft Cloud App Security </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Key Vault </a:t>
            </a:r>
          </a:p>
          <a:p>
            <a:pPr marL="171450" indent="-171450">
              <a:spcBef>
                <a:spcPts val="1200"/>
              </a:spcBef>
              <a:buClr>
                <a:schemeClr val="bg1"/>
              </a:buClr>
              <a:buFont typeface="Arial" panose="020B0604020202020204" pitchFamily="34" charset="0"/>
              <a:buChar char="•"/>
            </a:pPr>
            <a:r>
              <a:rPr lang="en-US" sz="1400" dirty="0">
                <a:solidFill>
                  <a:schemeClr val="accent1"/>
                </a:solidFill>
              </a:rPr>
              <a:t>Azure </a:t>
            </a:r>
            <a:r>
              <a:rPr lang="en-US" sz="1400" dirty="0" err="1">
                <a:solidFill>
                  <a:schemeClr val="accent1"/>
                </a:solidFill>
              </a:rPr>
              <a:t>HDInsights</a:t>
            </a:r>
            <a:r>
              <a:rPr lang="en-US" sz="1400" dirty="0">
                <a:solidFill>
                  <a:schemeClr val="accent1"/>
                </a:solidFill>
              </a:rPr>
              <a:t> </a:t>
            </a: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p:txBody>
      </p:sp>
      <p:sp>
        <p:nvSpPr>
          <p:cNvPr id="22" name="Rectangle 11">
            <a:extLst>
              <a:ext uri="{FF2B5EF4-FFF2-40B4-BE49-F238E27FC236}">
                <a16:creationId xmlns:a16="http://schemas.microsoft.com/office/drawing/2014/main" id="{013FAA18-68AC-4195-8C32-62C7AABC7244}"/>
              </a:ext>
            </a:extLst>
          </p:cNvPr>
          <p:cNvSpPr/>
          <p:nvPr/>
        </p:nvSpPr>
        <p:spPr bwMode="auto">
          <a:xfrm>
            <a:off x="8350783" y="761086"/>
            <a:ext cx="3143633" cy="388711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l" defTabSz="913280" rtl="0" eaLnBrk="1" fontAlgn="base" latinLnBrk="0" hangingPunct="1">
              <a:lnSpc>
                <a:spcPct val="90000"/>
              </a:lnSpc>
              <a:spcBef>
                <a:spcPct val="0"/>
              </a:spcBef>
              <a:spcAft>
                <a:spcPct val="0"/>
              </a:spcAft>
              <a:buClrTx/>
              <a:buSzTx/>
              <a:buFontTx/>
              <a:buNone/>
              <a:tabLst/>
              <a:defRPr/>
            </a:pPr>
            <a:endParaRPr kumimoji="0" lang="en-US" sz="2154"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25" name="Title 3">
            <a:extLst>
              <a:ext uri="{FF2B5EF4-FFF2-40B4-BE49-F238E27FC236}">
                <a16:creationId xmlns:a16="http://schemas.microsoft.com/office/drawing/2014/main" id="{89325BA4-CB2F-41F5-885B-328B565A6BC4}"/>
              </a:ext>
            </a:extLst>
          </p:cNvPr>
          <p:cNvSpPr txBox="1">
            <a:spLocks/>
          </p:cNvSpPr>
          <p:nvPr/>
        </p:nvSpPr>
        <p:spPr>
          <a:xfrm>
            <a:off x="8463546" y="757099"/>
            <a:ext cx="2149245" cy="738664"/>
          </a:xfrm>
          <a:prstGeom prst="rect">
            <a:avLst/>
          </a:prstGeom>
        </p:spPr>
        <p:txBody>
          <a:bodyPr vert="horz" wrap="square" lIns="91440" tIns="91440" rIns="91440" bIns="91440" rtlCol="0" anchor="ctr">
            <a:spAutoFit/>
          </a:bodyPr>
          <a:lstStyle>
            <a:lvl1pPr algn="ctr" defTabSz="913954" rtl="0" eaLnBrk="1" latinLnBrk="0" hangingPunct="1">
              <a:spcBef>
                <a:spcPct val="0"/>
              </a:spcBef>
              <a:buNone/>
              <a:defRPr lang="en-US" sz="7998" b="1" i="1" u="none" kern="1200" spc="0" baseline="0" dirty="0" smtClean="0">
                <a:solidFill>
                  <a:schemeClr val="accent1"/>
                </a:solidFill>
                <a:latin typeface="+mj-lt"/>
                <a:ea typeface="+mn-ea"/>
                <a:cs typeface="+mn-cs"/>
              </a:defRPr>
            </a:lvl1pPr>
          </a:lstStyle>
          <a:p>
            <a:pPr algn="l" defTabSz="1088105">
              <a:lnSpc>
                <a:spcPct val="90000"/>
              </a:lnSpc>
            </a:pPr>
            <a:r>
              <a:rPr lang="nl-NL" sz="4000" b="0" i="0" spc="-58" dirty="0">
                <a:latin typeface="Segoe UI Light" pitchFamily="34" charset="0"/>
                <a:ea typeface="Segoe UI" pitchFamily="34" charset="0"/>
                <a:cs typeface="Segoe UI" pitchFamily="34" charset="0"/>
              </a:rPr>
              <a:t>Report</a:t>
            </a:r>
          </a:p>
        </p:txBody>
      </p:sp>
      <p:grpSp>
        <p:nvGrpSpPr>
          <p:cNvPr id="2" name="Groep 1">
            <a:extLst>
              <a:ext uri="{FF2B5EF4-FFF2-40B4-BE49-F238E27FC236}">
                <a16:creationId xmlns:a16="http://schemas.microsoft.com/office/drawing/2014/main" id="{F677FF4C-7755-4B4B-BCB2-CB50345D2629}"/>
              </a:ext>
            </a:extLst>
          </p:cNvPr>
          <p:cNvGrpSpPr/>
          <p:nvPr/>
        </p:nvGrpSpPr>
        <p:grpSpPr>
          <a:xfrm>
            <a:off x="1240190" y="4640355"/>
            <a:ext cx="10254225" cy="2141445"/>
            <a:chOff x="1183483" y="1383768"/>
            <a:chExt cx="10254225" cy="1772230"/>
          </a:xfrm>
        </p:grpSpPr>
        <p:sp>
          <p:nvSpPr>
            <p:cNvPr id="34" name="Rectangle 11">
              <a:extLst>
                <a:ext uri="{FF2B5EF4-FFF2-40B4-BE49-F238E27FC236}">
                  <a16:creationId xmlns:a16="http://schemas.microsoft.com/office/drawing/2014/main" id="{E6E2BD35-87F2-4942-9CF0-2225CCDD9739}"/>
                </a:ext>
              </a:extLst>
            </p:cNvPr>
            <p:cNvSpPr/>
            <p:nvPr/>
          </p:nvSpPr>
          <p:spPr bwMode="auto">
            <a:xfrm>
              <a:off x="1183483" y="1450307"/>
              <a:ext cx="10254225" cy="1705691"/>
            </a:xfrm>
            <a:prstGeom prst="rect">
              <a:avLst/>
            </a:prstGeom>
            <a:solidFill>
              <a:srgbClr val="EC5038">
                <a:alpha val="69804"/>
              </a:srgbClr>
            </a:solidFill>
            <a:ln>
              <a:noFill/>
              <a:headEnd type="none" w="med" len="med"/>
              <a:tailEnd type="none" w="med" len="med"/>
            </a:ln>
            <a:effectLst/>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l" defTabSz="913280" rtl="0" eaLnBrk="1" fontAlgn="base" latinLnBrk="0" hangingPunct="1">
                <a:lnSpc>
                  <a:spcPct val="90000"/>
                </a:lnSpc>
                <a:spcBef>
                  <a:spcPct val="0"/>
                </a:spcBef>
                <a:spcAft>
                  <a:spcPct val="0"/>
                </a:spcAft>
                <a:buClrTx/>
                <a:buSzTx/>
                <a:buFontTx/>
                <a:buNone/>
                <a:tabLst/>
                <a:defRPr/>
              </a:pPr>
              <a:endParaRPr kumimoji="0" lang="en-US" sz="2154"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35" name="Text Placeholder 5">
              <a:extLst>
                <a:ext uri="{FF2B5EF4-FFF2-40B4-BE49-F238E27FC236}">
                  <a16:creationId xmlns:a16="http://schemas.microsoft.com/office/drawing/2014/main" id="{E5133650-BE70-4A8F-B55A-B731A44B77DC}"/>
                </a:ext>
              </a:extLst>
            </p:cNvPr>
            <p:cNvSpPr txBox="1">
              <a:spLocks/>
            </p:cNvSpPr>
            <p:nvPr/>
          </p:nvSpPr>
          <p:spPr>
            <a:xfrm>
              <a:off x="1471005" y="1383768"/>
              <a:ext cx="9884102" cy="1086966"/>
            </a:xfrm>
            <a:prstGeom prst="rect">
              <a:avLst/>
            </a:prstGeom>
            <a:scene3d>
              <a:camera prst="orthographicFront"/>
              <a:lightRig rig="threePt" dir="t"/>
            </a:scene3d>
            <a:sp3d>
              <a:bevelT/>
            </a:sp3d>
          </p:spPr>
          <p:txBody>
            <a:bodyPr vert="horz" lIns="0" tIns="91416" rIns="0" bIns="45708" rtlCol="0">
              <a:noAutofit/>
            </a:bodyPr>
            <a:lst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a:spcBef>
                  <a:spcPts val="1200"/>
                </a:spcBef>
                <a:buClr>
                  <a:schemeClr val="bg1"/>
                </a:buClr>
              </a:pPr>
              <a:r>
                <a:rPr lang="en-US" sz="3200" spc="-58" dirty="0">
                  <a:solidFill>
                    <a:schemeClr val="accent1"/>
                  </a:solidFill>
                  <a:latin typeface="Segoe UI Light" pitchFamily="34" charset="0"/>
                  <a:ea typeface="Segoe UI" pitchFamily="34" charset="0"/>
                  <a:cs typeface="Segoe UI" pitchFamily="34" charset="0"/>
                </a:rPr>
                <a:t>Additional or non-Microsoft</a:t>
              </a:r>
            </a:p>
            <a:p>
              <a:pPr marL="171450" indent="-171450">
                <a:spcBef>
                  <a:spcPts val="1200"/>
                </a:spcBef>
                <a:buClr>
                  <a:schemeClr val="bg1"/>
                </a:buClr>
                <a:buFont typeface="Arial" panose="020B0604020202020204" pitchFamily="34" charset="0"/>
                <a:buChar char="•"/>
              </a:pPr>
              <a:r>
                <a:rPr lang="en-US" sz="1400" dirty="0">
                  <a:solidFill>
                    <a:schemeClr val="accent1"/>
                  </a:solidFill>
                </a:rPr>
                <a:t>Forms and workflows (Flow/PowerApps/Nintex/</a:t>
              </a:r>
              <a:r>
                <a:rPr lang="en-US" sz="1400" dirty="0" err="1">
                  <a:solidFill>
                    <a:schemeClr val="accent1"/>
                  </a:solidFill>
                </a:rPr>
                <a:t>LogicApps</a:t>
              </a:r>
              <a:r>
                <a:rPr lang="en-US" sz="1400" dirty="0">
                  <a:solidFill>
                    <a:schemeClr val="accent1"/>
                  </a:solidFill>
                </a:rPr>
                <a:t>)</a:t>
              </a:r>
            </a:p>
            <a:p>
              <a:pPr marL="171450" indent="-171450">
                <a:spcBef>
                  <a:spcPts val="1200"/>
                </a:spcBef>
                <a:buClr>
                  <a:schemeClr val="bg1"/>
                </a:buClr>
                <a:buFont typeface="Arial" panose="020B0604020202020204" pitchFamily="34" charset="0"/>
                <a:buChar char="•"/>
              </a:pPr>
              <a:r>
                <a:rPr lang="en-US" sz="1400" dirty="0">
                  <a:solidFill>
                    <a:schemeClr val="accent1"/>
                  </a:solidFill>
                </a:rPr>
                <a:t>Content Search (across multiple repositories)</a:t>
              </a:r>
            </a:p>
            <a:p>
              <a:pPr marL="171450" indent="-171450">
                <a:spcBef>
                  <a:spcPts val="1200"/>
                </a:spcBef>
                <a:buClr>
                  <a:schemeClr val="bg1"/>
                </a:buClr>
                <a:buFont typeface="Arial" panose="020B0604020202020204" pitchFamily="34" charset="0"/>
                <a:buChar char="•"/>
              </a:pPr>
              <a:r>
                <a:rPr lang="en-US" sz="1400" dirty="0">
                  <a:solidFill>
                    <a:schemeClr val="accent1"/>
                  </a:solidFill>
                </a:rPr>
                <a:t>Document/report creation</a:t>
              </a:r>
            </a:p>
            <a:p>
              <a:pPr marL="171450" indent="-171450">
                <a:spcBef>
                  <a:spcPts val="1200"/>
                </a:spcBef>
                <a:buClr>
                  <a:schemeClr val="bg1"/>
                </a:buClr>
                <a:buFont typeface="Arial" panose="020B0604020202020204" pitchFamily="34" charset="0"/>
                <a:buChar char="•"/>
              </a:pPr>
              <a:r>
                <a:rPr lang="en-US" sz="1400" dirty="0">
                  <a:solidFill>
                    <a:schemeClr val="accent1"/>
                  </a:solidFill>
                </a:rPr>
                <a:t>Back-up solutions (</a:t>
              </a:r>
              <a:r>
                <a:rPr lang="en-US" sz="1400" dirty="0" err="1">
                  <a:solidFill>
                    <a:schemeClr val="accent1"/>
                  </a:solidFill>
                </a:rPr>
                <a:t>Commvault</a:t>
              </a:r>
              <a:r>
                <a:rPr lang="en-US" sz="1400" dirty="0">
                  <a:solidFill>
                    <a:schemeClr val="accent1"/>
                  </a:solidFill>
                </a:rPr>
                <a:t>) – right to be forgotten….</a:t>
              </a:r>
            </a:p>
          </p:txBody>
        </p:sp>
      </p:grpSp>
      <p:sp>
        <p:nvSpPr>
          <p:cNvPr id="26" name="Text Placeholder 5">
            <a:extLst>
              <a:ext uri="{FF2B5EF4-FFF2-40B4-BE49-F238E27FC236}">
                <a16:creationId xmlns:a16="http://schemas.microsoft.com/office/drawing/2014/main" id="{F9C99AD0-0BE6-4A7A-9A1D-39983BAE8E17}"/>
              </a:ext>
            </a:extLst>
          </p:cNvPr>
          <p:cNvSpPr txBox="1">
            <a:spLocks/>
          </p:cNvSpPr>
          <p:nvPr/>
        </p:nvSpPr>
        <p:spPr>
          <a:xfrm>
            <a:off x="8463546" y="1593047"/>
            <a:ext cx="2742829" cy="2885053"/>
          </a:xfrm>
          <a:prstGeom prst="rect">
            <a:avLst/>
          </a:prstGeom>
        </p:spPr>
        <p:txBody>
          <a:bodyPr vert="horz" lIns="0" tIns="91416" rIns="0" bIns="45708" rtlCol="0">
            <a:noAutofit/>
          </a:bodyPr>
          <a:lst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71450" indent="-171450">
              <a:spcBef>
                <a:spcPts val="1200"/>
              </a:spcBef>
              <a:buClr>
                <a:schemeClr val="bg1"/>
              </a:buClr>
              <a:buFont typeface="Arial" panose="020B0604020202020204" pitchFamily="34" charset="0"/>
              <a:buChar char="•"/>
            </a:pPr>
            <a:r>
              <a:rPr lang="en-US" sz="1400" dirty="0">
                <a:solidFill>
                  <a:schemeClr val="accent1"/>
                </a:solidFill>
              </a:rPr>
              <a:t>Office 365 </a:t>
            </a:r>
            <a:r>
              <a:rPr lang="en-US" sz="1400" dirty="0" err="1">
                <a:solidFill>
                  <a:schemeClr val="accent1"/>
                </a:solidFill>
              </a:rPr>
              <a:t>auditlog</a:t>
            </a:r>
            <a:r>
              <a:rPr lang="en-US" sz="1400" dirty="0">
                <a:solidFill>
                  <a:schemeClr val="accent1"/>
                </a:solidFill>
              </a:rPr>
              <a:t> </a:t>
            </a:r>
          </a:p>
          <a:p>
            <a:pPr marL="171450" indent="-171450">
              <a:spcBef>
                <a:spcPts val="1200"/>
              </a:spcBef>
              <a:buClr>
                <a:schemeClr val="bg1"/>
              </a:buClr>
              <a:buFont typeface="Arial" panose="020B0604020202020204" pitchFamily="34" charset="0"/>
              <a:buChar char="•"/>
            </a:pPr>
            <a:r>
              <a:rPr lang="en-US" sz="1400" dirty="0">
                <a:solidFill>
                  <a:schemeClr val="accent1"/>
                </a:solidFill>
              </a:rPr>
              <a:t>eDiscovery cases/content search </a:t>
            </a: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a:p>
            <a:pPr>
              <a:spcBef>
                <a:spcPts val="1200"/>
              </a:spcBef>
              <a:buClr>
                <a:schemeClr val="bg1"/>
              </a:buClr>
            </a:pPr>
            <a:endParaRPr lang="en-US" sz="1400" dirty="0">
              <a:solidFill>
                <a:schemeClr val="accent1"/>
              </a:solidFill>
            </a:endParaRPr>
          </a:p>
        </p:txBody>
      </p:sp>
      <p:grpSp>
        <p:nvGrpSpPr>
          <p:cNvPr id="36" name="Groep 35">
            <a:extLst>
              <a:ext uri="{FF2B5EF4-FFF2-40B4-BE49-F238E27FC236}">
                <a16:creationId xmlns:a16="http://schemas.microsoft.com/office/drawing/2014/main" id="{DB467927-7B74-446A-AABB-CD4474D9B49D}"/>
              </a:ext>
            </a:extLst>
          </p:cNvPr>
          <p:cNvGrpSpPr/>
          <p:nvPr/>
        </p:nvGrpSpPr>
        <p:grpSpPr>
          <a:xfrm>
            <a:off x="1239672" y="76201"/>
            <a:ext cx="10254744" cy="790188"/>
            <a:chOff x="1471005" y="965560"/>
            <a:chExt cx="10254744" cy="1669203"/>
          </a:xfrm>
          <a:effectLst>
            <a:glow rad="101600">
              <a:schemeClr val="accent1">
                <a:satMod val="175000"/>
                <a:alpha val="40000"/>
              </a:schemeClr>
            </a:glow>
          </a:effectLst>
        </p:grpSpPr>
        <p:sp>
          <p:nvSpPr>
            <p:cNvPr id="37" name="Rectangle 11">
              <a:extLst>
                <a:ext uri="{FF2B5EF4-FFF2-40B4-BE49-F238E27FC236}">
                  <a16:creationId xmlns:a16="http://schemas.microsoft.com/office/drawing/2014/main" id="{F9FD0D22-3017-4EBA-83B8-90DCBF49615A}"/>
                </a:ext>
              </a:extLst>
            </p:cNvPr>
            <p:cNvSpPr/>
            <p:nvPr/>
          </p:nvSpPr>
          <p:spPr bwMode="auto">
            <a:xfrm>
              <a:off x="1471524" y="965560"/>
              <a:ext cx="10254225" cy="1669203"/>
            </a:xfrm>
            <a:prstGeom prst="rect">
              <a:avLst/>
            </a:prstGeom>
            <a:solidFill>
              <a:srgbClr val="EC5038">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154"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38" name="Text Placeholder 5">
              <a:extLst>
                <a:ext uri="{FF2B5EF4-FFF2-40B4-BE49-F238E27FC236}">
                  <a16:creationId xmlns:a16="http://schemas.microsoft.com/office/drawing/2014/main" id="{85408B79-7EDA-4F8B-88A1-94B19E75662C}"/>
                </a:ext>
              </a:extLst>
            </p:cNvPr>
            <p:cNvSpPr txBox="1">
              <a:spLocks/>
            </p:cNvSpPr>
            <p:nvPr/>
          </p:nvSpPr>
          <p:spPr>
            <a:xfrm>
              <a:off x="1471005" y="1093350"/>
              <a:ext cx="9884102" cy="1086967"/>
            </a:xfrm>
            <a:prstGeom prst="rect">
              <a:avLst/>
            </a:prstGeom>
          </p:spPr>
          <p:txBody>
            <a:bodyPr vert="horz" lIns="0" tIns="91416" rIns="0" bIns="45708" rtlCol="0">
              <a:noAutofit/>
            </a:bodyPr>
            <a:lstStyle>
              <a:lvl1pPr marL="0" indent="0" algn="l" defTabSz="913954" rtl="0" eaLnBrk="1" latinLnBrk="0" hangingPunct="1">
                <a:spcBef>
                  <a:spcPct val="20000"/>
                </a:spcBef>
                <a:buFontTx/>
                <a:buNone/>
                <a:defRPr sz="3199" kern="1200">
                  <a:solidFill>
                    <a:schemeClr val="tx1"/>
                  </a:solidFill>
                  <a:latin typeface="+mn-lt"/>
                  <a:ea typeface="+mn-ea"/>
                  <a:cs typeface="+mn-cs"/>
                </a:defRPr>
              </a:lvl1pPr>
              <a:lvl2pPr marL="456977" indent="0" algn="l" defTabSz="913954" rtl="0" eaLnBrk="1" latinLnBrk="0" hangingPunct="1">
                <a:spcBef>
                  <a:spcPct val="20000"/>
                </a:spcBef>
                <a:buFontTx/>
                <a:buNone/>
                <a:defRPr sz="7998" b="1" i="1" u="none" kern="1200" spc="0" baseline="0">
                  <a:solidFill>
                    <a:schemeClr val="accent1"/>
                  </a:solidFill>
                  <a:latin typeface="+mj-lt"/>
                  <a:ea typeface="+mn-ea"/>
                  <a:cs typeface="+mn-cs"/>
                </a:defRPr>
              </a:lvl2pPr>
              <a:lvl3pPr marL="913954" indent="0" algn="l" defTabSz="913954" rtl="0" eaLnBrk="1" latinLnBrk="0" hangingPunct="1">
                <a:spcBef>
                  <a:spcPct val="20000"/>
                </a:spcBef>
                <a:buFontTx/>
                <a:buNone/>
                <a:defRPr sz="2399" b="1" i="0" u="sng" kern="1200">
                  <a:solidFill>
                    <a:schemeClr val="accent2"/>
                  </a:solidFill>
                  <a:latin typeface="+mn-lt"/>
                  <a:ea typeface="+mn-ea"/>
                  <a:cs typeface="+mn-cs"/>
                </a:defRPr>
              </a:lvl3pPr>
              <a:lvl4pPr marL="1370931" indent="0" algn="l" defTabSz="913954" rtl="0" eaLnBrk="1" latinLnBrk="0" hangingPunct="1">
                <a:spcBef>
                  <a:spcPct val="20000"/>
                </a:spcBef>
                <a:buFontTx/>
                <a:buNone/>
                <a:defRPr sz="1100" b="0" i="0" kern="1200" spc="300">
                  <a:solidFill>
                    <a:schemeClr val="accent3"/>
                  </a:solidFill>
                  <a:latin typeface="+mn-lt"/>
                  <a:ea typeface="+mn-ea"/>
                  <a:cs typeface="+mn-cs"/>
                </a:defRPr>
              </a:lvl4pPr>
              <a:lvl5pPr marL="1827908" indent="0" algn="l" defTabSz="913954"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373"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50"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27"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04" indent="-228489" algn="l" defTabSz="913954"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algn="ctr">
                <a:spcBef>
                  <a:spcPts val="1200"/>
                </a:spcBef>
                <a:buClr>
                  <a:schemeClr val="bg1"/>
                </a:buClr>
              </a:pPr>
              <a:r>
                <a:rPr lang="en-US" sz="3200" spc="-58" dirty="0">
                  <a:solidFill>
                    <a:schemeClr val="accent1"/>
                  </a:solidFill>
                  <a:latin typeface="Segoe UI Light" pitchFamily="34" charset="0"/>
                  <a:ea typeface="Segoe UI" pitchFamily="34" charset="0"/>
                  <a:cs typeface="Segoe UI" pitchFamily="34" charset="0"/>
                </a:rPr>
                <a:t>Office 365 and Azure</a:t>
              </a:r>
              <a:endParaRPr lang="en-US" sz="1400" dirty="0">
                <a:solidFill>
                  <a:schemeClr val="accent1"/>
                </a:solidFill>
              </a:endParaRPr>
            </a:p>
          </p:txBody>
        </p:sp>
      </p:grpSp>
    </p:spTree>
    <p:extLst>
      <p:ext uri="{BB962C8B-B14F-4D97-AF65-F5344CB8AC3E}">
        <p14:creationId xmlns:p14="http://schemas.microsoft.com/office/powerpoint/2010/main" val="393086479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63E834-3E21-4439-9A21-BE04D178D215}"/>
              </a:ext>
            </a:extLst>
          </p:cNvPr>
          <p:cNvSpPr>
            <a:spLocks noGrp="1"/>
          </p:cNvSpPr>
          <p:nvPr>
            <p:ph type="title"/>
          </p:nvPr>
        </p:nvSpPr>
        <p:spPr/>
        <p:txBody>
          <a:bodyPr/>
          <a:lstStyle/>
          <a:p>
            <a:r>
              <a:rPr lang="en-GB" dirty="0"/>
              <a:t>PII (Personal Identifiable Information)</a:t>
            </a:r>
          </a:p>
        </p:txBody>
      </p:sp>
      <p:grpSp>
        <p:nvGrpSpPr>
          <p:cNvPr id="5" name="Group 1">
            <a:extLst>
              <a:ext uri="{FF2B5EF4-FFF2-40B4-BE49-F238E27FC236}">
                <a16:creationId xmlns:a16="http://schemas.microsoft.com/office/drawing/2014/main" id="{2E2C3C52-17B3-430D-910B-BB81FD06594E}"/>
              </a:ext>
            </a:extLst>
          </p:cNvPr>
          <p:cNvGrpSpPr/>
          <p:nvPr/>
        </p:nvGrpSpPr>
        <p:grpSpPr>
          <a:xfrm>
            <a:off x="2267818" y="1449077"/>
            <a:ext cx="7344280" cy="5203919"/>
            <a:chOff x="1771267" y="884238"/>
            <a:chExt cx="5509645" cy="3903956"/>
          </a:xfrm>
        </p:grpSpPr>
        <p:sp>
          <p:nvSpPr>
            <p:cNvPr id="6" name="CPTKTBGT11t10z12j0la0tm01b00i00u01f01s01l10">
              <a:extLst>
                <a:ext uri="{FF2B5EF4-FFF2-40B4-BE49-F238E27FC236}">
                  <a16:creationId xmlns:a16="http://schemas.microsoft.com/office/drawing/2014/main" id="{46142A7D-6A4C-45F5-A78B-C2B110B0B8E8}"/>
                </a:ext>
              </a:extLst>
            </p:cNvPr>
            <p:cNvSpPr txBox="1"/>
            <p:nvPr/>
          </p:nvSpPr>
          <p:spPr bwMode="auto">
            <a:xfrm>
              <a:off x="1797105" y="961415"/>
              <a:ext cx="5457968" cy="1023949"/>
            </a:xfrm>
            <a:prstGeom prst="rect">
              <a:avLst/>
            </a:prstGeom>
            <a:solidFill>
              <a:srgbClr val="FFFFFF"/>
            </a:solidFill>
            <a:ln w="9525">
              <a:noFill/>
              <a:miter lim="800000"/>
              <a:headEnd/>
              <a:tailEnd/>
            </a:ln>
            <a:effectLst/>
          </p:spPr>
          <p:txBody>
            <a:bodyPr vert="horz" wrap="square" lIns="44222" tIns="44222" rIns="44222" bIns="44222" rtlCol="0" anchor="t">
              <a:noAutofit/>
            </a:bodyPr>
            <a:lstStyle/>
            <a:p>
              <a:pPr marL="1917221">
                <a:spcBef>
                  <a:spcPts val="984"/>
                </a:spcBef>
                <a:buClr>
                  <a:schemeClr val="accent2"/>
                </a:buClr>
                <a:buSzPct val="120000"/>
              </a:pPr>
              <a:r>
                <a:rPr lang="en-GB" sz="1600" dirty="0">
                  <a:solidFill>
                    <a:schemeClr val="accent2"/>
                  </a:solidFill>
                  <a:latin typeface="Calibri" pitchFamily="34" charset="0"/>
                  <a:cs typeface="Calibri" pitchFamily="34" charset="0"/>
                </a:rPr>
                <a:t>Any information that can be used to </a:t>
              </a:r>
              <a:r>
                <a:rPr lang="en-GB" sz="1600" b="1" dirty="0">
                  <a:solidFill>
                    <a:schemeClr val="accent2"/>
                  </a:solidFill>
                  <a:latin typeface="Calibri" pitchFamily="34" charset="0"/>
                  <a:cs typeface="Calibri" pitchFamily="34" charset="0"/>
                </a:rPr>
                <a:t>identify an individual directly or indirectly. </a:t>
              </a:r>
              <a:r>
                <a:rPr lang="en-GB" sz="1600" dirty="0">
                  <a:solidFill>
                    <a:schemeClr val="accent2"/>
                  </a:solidFill>
                  <a:latin typeface="Calibri" pitchFamily="34" charset="0"/>
                  <a:cs typeface="Calibri" pitchFamily="34" charset="0"/>
                </a:rPr>
                <a:t>This could be data of </a:t>
              </a:r>
              <a:r>
                <a:rPr lang="en-GB" sz="1600" b="1" dirty="0">
                  <a:solidFill>
                    <a:schemeClr val="accent2"/>
                  </a:solidFill>
                  <a:latin typeface="Calibri" pitchFamily="34" charset="0"/>
                  <a:cs typeface="Calibri" pitchFamily="34" charset="0"/>
                </a:rPr>
                <a:t>clients, employees, suppliers, stakeholders, etc. </a:t>
              </a:r>
            </a:p>
          </p:txBody>
        </p:sp>
        <p:grpSp>
          <p:nvGrpSpPr>
            <p:cNvPr id="7" name="Group 19">
              <a:extLst>
                <a:ext uri="{FF2B5EF4-FFF2-40B4-BE49-F238E27FC236}">
                  <a16:creationId xmlns:a16="http://schemas.microsoft.com/office/drawing/2014/main" id="{300112E5-16CE-4F51-B5B1-E4EBD243DE1E}"/>
                </a:ext>
              </a:extLst>
            </p:cNvPr>
            <p:cNvGrpSpPr/>
            <p:nvPr/>
          </p:nvGrpSpPr>
          <p:grpSpPr>
            <a:xfrm>
              <a:off x="2668843" y="1713468"/>
              <a:ext cx="3731385" cy="2931103"/>
              <a:chOff x="706835" y="2759412"/>
              <a:chExt cx="3731385" cy="2827310"/>
            </a:xfrm>
          </p:grpSpPr>
          <p:sp>
            <p:nvSpPr>
              <p:cNvPr id="39" name="TextBox 20">
                <a:extLst>
                  <a:ext uri="{FF2B5EF4-FFF2-40B4-BE49-F238E27FC236}">
                    <a16:creationId xmlns:a16="http://schemas.microsoft.com/office/drawing/2014/main" id="{34B31E9D-37DB-47F2-996A-5502A9935E84}"/>
                  </a:ext>
                </a:extLst>
              </p:cNvPr>
              <p:cNvSpPr txBox="1"/>
              <p:nvPr/>
            </p:nvSpPr>
            <p:spPr bwMode="auto">
              <a:xfrm>
                <a:off x="2246979" y="2759412"/>
                <a:ext cx="729523" cy="214813"/>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Fingerprints</a:t>
                </a:r>
              </a:p>
            </p:txBody>
          </p:sp>
          <p:sp>
            <p:nvSpPr>
              <p:cNvPr id="40" name="TextBox 21">
                <a:extLst>
                  <a:ext uri="{FF2B5EF4-FFF2-40B4-BE49-F238E27FC236}">
                    <a16:creationId xmlns:a16="http://schemas.microsoft.com/office/drawing/2014/main" id="{BDEA29C2-1B4F-466D-A901-60F203875931}"/>
                  </a:ext>
                </a:extLst>
              </p:cNvPr>
              <p:cNvSpPr txBox="1"/>
              <p:nvPr/>
            </p:nvSpPr>
            <p:spPr bwMode="auto">
              <a:xfrm>
                <a:off x="868405" y="5309476"/>
                <a:ext cx="1006638" cy="277246"/>
              </a:xfrm>
              <a:prstGeom prst="rect">
                <a:avLst/>
              </a:prstGeom>
              <a:noFill/>
              <a:ln w="9525">
                <a:noFill/>
                <a:miter lim="800000"/>
                <a:headEnd/>
                <a:tailEnd/>
              </a:ln>
            </p:spPr>
            <p:txBody>
              <a:bodyPr wrap="square" lIns="0" tIns="0" rIns="0" bIns="0" rtlCol="0" anchor="ctr">
                <a:noAutofit/>
              </a:bodyPr>
              <a:lstStyle/>
              <a:p>
                <a:pPr algn="ctr"/>
                <a:r>
                  <a:rPr lang="en-GB" sz="984" dirty="0">
                    <a:solidFill>
                      <a:schemeClr val="tx1">
                        <a:lumMod val="85000"/>
                        <a:lumOff val="15000"/>
                      </a:schemeClr>
                    </a:solidFill>
                    <a:latin typeface="Calibri" pitchFamily="34" charset="0"/>
                    <a:cs typeface="Calibri" pitchFamily="34" charset="0"/>
                  </a:rPr>
                  <a:t>Professional and private contact details</a:t>
                </a:r>
              </a:p>
            </p:txBody>
          </p:sp>
          <p:grpSp>
            <p:nvGrpSpPr>
              <p:cNvPr id="41" name="Groupe 535">
                <a:extLst>
                  <a:ext uri="{FF2B5EF4-FFF2-40B4-BE49-F238E27FC236}">
                    <a16:creationId xmlns:a16="http://schemas.microsoft.com/office/drawing/2014/main" id="{870A4C15-B0EB-4DA6-B39F-16A5FCA983EA}"/>
                  </a:ext>
                </a:extLst>
              </p:cNvPr>
              <p:cNvGrpSpPr/>
              <p:nvPr/>
            </p:nvGrpSpPr>
            <p:grpSpPr>
              <a:xfrm>
                <a:off x="2426654" y="3142182"/>
                <a:ext cx="245825" cy="219015"/>
                <a:chOff x="2573339" y="725488"/>
                <a:chExt cx="349250" cy="341313"/>
              </a:xfrm>
            </p:grpSpPr>
            <p:sp>
              <p:nvSpPr>
                <p:cNvPr id="116" name="Freeform 146">
                  <a:extLst>
                    <a:ext uri="{FF2B5EF4-FFF2-40B4-BE49-F238E27FC236}">
                      <a16:creationId xmlns:a16="http://schemas.microsoft.com/office/drawing/2014/main" id="{A7A120BE-72DC-4611-81A8-F7B2A1C12941}"/>
                    </a:ext>
                  </a:extLst>
                </p:cNvPr>
                <p:cNvSpPr>
                  <a:spLocks/>
                </p:cNvSpPr>
                <p:nvPr/>
              </p:nvSpPr>
              <p:spPr bwMode="auto">
                <a:xfrm>
                  <a:off x="2573339" y="858838"/>
                  <a:ext cx="349250" cy="161925"/>
                </a:xfrm>
                <a:custGeom>
                  <a:avLst/>
                  <a:gdLst/>
                  <a:ahLst/>
                  <a:cxnLst>
                    <a:cxn ang="0">
                      <a:pos x="198" y="102"/>
                    </a:cxn>
                    <a:cxn ang="0">
                      <a:pos x="220" y="102"/>
                    </a:cxn>
                    <a:cxn ang="0">
                      <a:pos x="220" y="36"/>
                    </a:cxn>
                    <a:cxn ang="0">
                      <a:pos x="198" y="0"/>
                    </a:cxn>
                    <a:cxn ang="0">
                      <a:pos x="22" y="0"/>
                    </a:cxn>
                    <a:cxn ang="0">
                      <a:pos x="0" y="36"/>
                    </a:cxn>
                    <a:cxn ang="0">
                      <a:pos x="0" y="102"/>
                    </a:cxn>
                    <a:cxn ang="0">
                      <a:pos x="22" y="102"/>
                    </a:cxn>
                  </a:cxnLst>
                  <a:rect l="0" t="0" r="r" b="b"/>
                  <a:pathLst>
                    <a:path w="220" h="102">
                      <a:moveTo>
                        <a:pt x="198" y="102"/>
                      </a:moveTo>
                      <a:lnTo>
                        <a:pt x="220" y="102"/>
                      </a:lnTo>
                      <a:lnTo>
                        <a:pt x="220" y="36"/>
                      </a:lnTo>
                      <a:lnTo>
                        <a:pt x="198" y="0"/>
                      </a:lnTo>
                      <a:lnTo>
                        <a:pt x="22" y="0"/>
                      </a:lnTo>
                      <a:lnTo>
                        <a:pt x="0" y="36"/>
                      </a:lnTo>
                      <a:lnTo>
                        <a:pt x="0" y="102"/>
                      </a:lnTo>
                      <a:lnTo>
                        <a:pt x="22" y="102"/>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17" name="Freeform 147">
                  <a:extLst>
                    <a:ext uri="{FF2B5EF4-FFF2-40B4-BE49-F238E27FC236}">
                      <a16:creationId xmlns:a16="http://schemas.microsoft.com/office/drawing/2014/main" id="{723EB168-D7AA-459A-B804-2E534E61A921}"/>
                    </a:ext>
                  </a:extLst>
                </p:cNvPr>
                <p:cNvSpPr>
                  <a:spLocks/>
                </p:cNvSpPr>
                <p:nvPr/>
              </p:nvSpPr>
              <p:spPr bwMode="auto">
                <a:xfrm>
                  <a:off x="2630489" y="998538"/>
                  <a:ext cx="234950" cy="68263"/>
                </a:xfrm>
                <a:custGeom>
                  <a:avLst/>
                  <a:gdLst/>
                  <a:ahLst/>
                  <a:cxnLst>
                    <a:cxn ang="0">
                      <a:pos x="130" y="0"/>
                    </a:cxn>
                    <a:cxn ang="0">
                      <a:pos x="19" y="0"/>
                    </a:cxn>
                    <a:cxn ang="0">
                      <a:pos x="0" y="43"/>
                    </a:cxn>
                    <a:cxn ang="0">
                      <a:pos x="148" y="43"/>
                    </a:cxn>
                    <a:cxn ang="0">
                      <a:pos x="130" y="0"/>
                    </a:cxn>
                    <a:cxn ang="0">
                      <a:pos x="130" y="0"/>
                    </a:cxn>
                    <a:cxn ang="0">
                      <a:pos x="130" y="0"/>
                    </a:cxn>
                  </a:cxnLst>
                  <a:rect l="0" t="0" r="r" b="b"/>
                  <a:pathLst>
                    <a:path w="148" h="43">
                      <a:moveTo>
                        <a:pt x="130" y="0"/>
                      </a:moveTo>
                      <a:lnTo>
                        <a:pt x="19" y="0"/>
                      </a:lnTo>
                      <a:lnTo>
                        <a:pt x="0" y="43"/>
                      </a:lnTo>
                      <a:lnTo>
                        <a:pt x="148" y="43"/>
                      </a:lnTo>
                      <a:lnTo>
                        <a:pt x="130" y="0"/>
                      </a:lnTo>
                      <a:lnTo>
                        <a:pt x="130" y="0"/>
                      </a:lnTo>
                      <a:lnTo>
                        <a:pt x="130" y="0"/>
                      </a:lnTo>
                      <a:close/>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18" name="Line 148">
                  <a:extLst>
                    <a:ext uri="{FF2B5EF4-FFF2-40B4-BE49-F238E27FC236}">
                      <a16:creationId xmlns:a16="http://schemas.microsoft.com/office/drawing/2014/main" id="{8DCDD39B-355A-48FA-A888-46FD80031A37}"/>
                    </a:ext>
                  </a:extLst>
                </p:cNvPr>
                <p:cNvSpPr>
                  <a:spLocks noChangeShapeType="1"/>
                </p:cNvSpPr>
                <p:nvPr/>
              </p:nvSpPr>
              <p:spPr bwMode="auto">
                <a:xfrm flipH="1">
                  <a:off x="2609851" y="915988"/>
                  <a:ext cx="277813"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19" name="Freeform 149">
                  <a:extLst>
                    <a:ext uri="{FF2B5EF4-FFF2-40B4-BE49-F238E27FC236}">
                      <a16:creationId xmlns:a16="http://schemas.microsoft.com/office/drawing/2014/main" id="{FBCE3F53-0A20-402D-ACF9-3E5E1266ABED}"/>
                    </a:ext>
                  </a:extLst>
                </p:cNvPr>
                <p:cNvSpPr>
                  <a:spLocks/>
                </p:cNvSpPr>
                <p:nvPr/>
              </p:nvSpPr>
              <p:spPr bwMode="auto">
                <a:xfrm>
                  <a:off x="2644776" y="725488"/>
                  <a:ext cx="207963" cy="114300"/>
                </a:xfrm>
                <a:custGeom>
                  <a:avLst/>
                  <a:gdLst/>
                  <a:ahLst/>
                  <a:cxnLst>
                    <a:cxn ang="0">
                      <a:pos x="106" y="59"/>
                    </a:cxn>
                    <a:cxn ang="0">
                      <a:pos x="106" y="0"/>
                    </a:cxn>
                    <a:cxn ang="0">
                      <a:pos x="0" y="0"/>
                    </a:cxn>
                    <a:cxn ang="0">
                      <a:pos x="0" y="59"/>
                    </a:cxn>
                  </a:cxnLst>
                  <a:rect l="0" t="0" r="r" b="b"/>
                  <a:pathLst>
                    <a:path w="107" h="59">
                      <a:moveTo>
                        <a:pt x="106" y="59"/>
                      </a:moveTo>
                      <a:cubicBezTo>
                        <a:pt x="106" y="40"/>
                        <a:pt x="107" y="20"/>
                        <a:pt x="106" y="0"/>
                      </a:cubicBezTo>
                      <a:cubicBezTo>
                        <a:pt x="0" y="0"/>
                        <a:pt x="0" y="0"/>
                        <a:pt x="0" y="0"/>
                      </a:cubicBezTo>
                      <a:cubicBezTo>
                        <a:pt x="0" y="20"/>
                        <a:pt x="0" y="40"/>
                        <a:pt x="0" y="59"/>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0" name="Line 150">
                  <a:extLst>
                    <a:ext uri="{FF2B5EF4-FFF2-40B4-BE49-F238E27FC236}">
                      <a16:creationId xmlns:a16="http://schemas.microsoft.com/office/drawing/2014/main" id="{8F272BC2-F7EB-44C2-8B42-5804369B2F4E}"/>
                    </a:ext>
                  </a:extLst>
                </p:cNvPr>
                <p:cNvSpPr>
                  <a:spLocks noChangeShapeType="1"/>
                </p:cNvSpPr>
                <p:nvPr/>
              </p:nvSpPr>
              <p:spPr bwMode="auto">
                <a:xfrm flipH="1">
                  <a:off x="2689226" y="769938"/>
                  <a:ext cx="117475"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1" name="Line 151">
                  <a:extLst>
                    <a:ext uri="{FF2B5EF4-FFF2-40B4-BE49-F238E27FC236}">
                      <a16:creationId xmlns:a16="http://schemas.microsoft.com/office/drawing/2014/main" id="{A76347F9-BC75-4142-9298-9F189FAB40AA}"/>
                    </a:ext>
                  </a:extLst>
                </p:cNvPr>
                <p:cNvSpPr>
                  <a:spLocks noChangeShapeType="1"/>
                </p:cNvSpPr>
                <p:nvPr/>
              </p:nvSpPr>
              <p:spPr bwMode="auto">
                <a:xfrm flipH="1">
                  <a:off x="2689226" y="804863"/>
                  <a:ext cx="117475"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2" name="Freeform 152">
                  <a:extLst>
                    <a:ext uri="{FF2B5EF4-FFF2-40B4-BE49-F238E27FC236}">
                      <a16:creationId xmlns:a16="http://schemas.microsoft.com/office/drawing/2014/main" id="{6886B5B6-8208-4E62-A060-E8479ED7010F}"/>
                    </a:ext>
                  </a:extLst>
                </p:cNvPr>
                <p:cNvSpPr>
                  <a:spLocks/>
                </p:cNvSpPr>
                <p:nvPr/>
              </p:nvSpPr>
              <p:spPr bwMode="auto">
                <a:xfrm>
                  <a:off x="2798764" y="935038"/>
                  <a:ext cx="15875" cy="15875"/>
                </a:xfrm>
                <a:custGeom>
                  <a:avLst/>
                  <a:gdLst/>
                  <a:ahLst/>
                  <a:cxnLst>
                    <a:cxn ang="0">
                      <a:pos x="10" y="0"/>
                    </a:cxn>
                    <a:cxn ang="0">
                      <a:pos x="0" y="0"/>
                    </a:cxn>
                    <a:cxn ang="0">
                      <a:pos x="0" y="10"/>
                    </a:cxn>
                    <a:cxn ang="0">
                      <a:pos x="10" y="10"/>
                    </a:cxn>
                    <a:cxn ang="0">
                      <a:pos x="10" y="0"/>
                    </a:cxn>
                    <a:cxn ang="0">
                      <a:pos x="10" y="0"/>
                    </a:cxn>
                  </a:cxnLst>
                  <a:rect l="0" t="0" r="r" b="b"/>
                  <a:pathLst>
                    <a:path w="10" h="10">
                      <a:moveTo>
                        <a:pt x="10" y="0"/>
                      </a:moveTo>
                      <a:lnTo>
                        <a:pt x="0" y="0"/>
                      </a:lnTo>
                      <a:lnTo>
                        <a:pt x="0" y="10"/>
                      </a:lnTo>
                      <a:lnTo>
                        <a:pt x="10" y="10"/>
                      </a:lnTo>
                      <a:lnTo>
                        <a:pt x="10" y="0"/>
                      </a:lnTo>
                      <a:lnTo>
                        <a:pt x="10" y="0"/>
                      </a:lnTo>
                      <a:close/>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3" name="Freeform 153">
                  <a:extLst>
                    <a:ext uri="{FF2B5EF4-FFF2-40B4-BE49-F238E27FC236}">
                      <a16:creationId xmlns:a16="http://schemas.microsoft.com/office/drawing/2014/main" id="{E92F607A-7E63-40E3-8A69-79855180374A}"/>
                    </a:ext>
                  </a:extLst>
                </p:cNvPr>
                <p:cNvSpPr>
                  <a:spLocks/>
                </p:cNvSpPr>
                <p:nvPr/>
              </p:nvSpPr>
              <p:spPr bwMode="auto">
                <a:xfrm>
                  <a:off x="2741614" y="935038"/>
                  <a:ext cx="15875" cy="15875"/>
                </a:xfrm>
                <a:custGeom>
                  <a:avLst/>
                  <a:gdLst/>
                  <a:ahLst/>
                  <a:cxnLst>
                    <a:cxn ang="0">
                      <a:pos x="10" y="0"/>
                    </a:cxn>
                    <a:cxn ang="0">
                      <a:pos x="0" y="0"/>
                    </a:cxn>
                    <a:cxn ang="0">
                      <a:pos x="0" y="10"/>
                    </a:cxn>
                    <a:cxn ang="0">
                      <a:pos x="10" y="10"/>
                    </a:cxn>
                    <a:cxn ang="0">
                      <a:pos x="10" y="0"/>
                    </a:cxn>
                    <a:cxn ang="0">
                      <a:pos x="10" y="0"/>
                    </a:cxn>
                  </a:cxnLst>
                  <a:rect l="0" t="0" r="r" b="b"/>
                  <a:pathLst>
                    <a:path w="10" h="10">
                      <a:moveTo>
                        <a:pt x="10" y="0"/>
                      </a:moveTo>
                      <a:lnTo>
                        <a:pt x="0" y="0"/>
                      </a:lnTo>
                      <a:lnTo>
                        <a:pt x="0" y="10"/>
                      </a:lnTo>
                      <a:lnTo>
                        <a:pt x="10" y="10"/>
                      </a:lnTo>
                      <a:lnTo>
                        <a:pt x="10" y="0"/>
                      </a:lnTo>
                      <a:lnTo>
                        <a:pt x="10" y="0"/>
                      </a:lnTo>
                      <a:close/>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4" name="Freeform 154">
                  <a:extLst>
                    <a:ext uri="{FF2B5EF4-FFF2-40B4-BE49-F238E27FC236}">
                      <a16:creationId xmlns:a16="http://schemas.microsoft.com/office/drawing/2014/main" id="{641AEA97-DB15-4634-B531-220C23532DEA}"/>
                    </a:ext>
                  </a:extLst>
                </p:cNvPr>
                <p:cNvSpPr>
                  <a:spLocks/>
                </p:cNvSpPr>
                <p:nvPr/>
              </p:nvSpPr>
              <p:spPr bwMode="auto">
                <a:xfrm>
                  <a:off x="2684464" y="935038"/>
                  <a:ext cx="12700" cy="15875"/>
                </a:xfrm>
                <a:custGeom>
                  <a:avLst/>
                  <a:gdLst/>
                  <a:ahLst/>
                  <a:cxnLst>
                    <a:cxn ang="0">
                      <a:pos x="8" y="0"/>
                    </a:cxn>
                    <a:cxn ang="0">
                      <a:pos x="0" y="0"/>
                    </a:cxn>
                    <a:cxn ang="0">
                      <a:pos x="0" y="10"/>
                    </a:cxn>
                    <a:cxn ang="0">
                      <a:pos x="8" y="10"/>
                    </a:cxn>
                    <a:cxn ang="0">
                      <a:pos x="8" y="0"/>
                    </a:cxn>
                    <a:cxn ang="0">
                      <a:pos x="8" y="0"/>
                    </a:cxn>
                  </a:cxnLst>
                  <a:rect l="0" t="0" r="r" b="b"/>
                  <a:pathLst>
                    <a:path w="8" h="10">
                      <a:moveTo>
                        <a:pt x="8" y="0"/>
                      </a:moveTo>
                      <a:lnTo>
                        <a:pt x="0" y="0"/>
                      </a:lnTo>
                      <a:lnTo>
                        <a:pt x="0" y="10"/>
                      </a:lnTo>
                      <a:lnTo>
                        <a:pt x="8" y="10"/>
                      </a:lnTo>
                      <a:lnTo>
                        <a:pt x="8" y="0"/>
                      </a:lnTo>
                      <a:lnTo>
                        <a:pt x="8" y="0"/>
                      </a:lnTo>
                      <a:close/>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125" name="Freeform 155">
                  <a:extLst>
                    <a:ext uri="{FF2B5EF4-FFF2-40B4-BE49-F238E27FC236}">
                      <a16:creationId xmlns:a16="http://schemas.microsoft.com/office/drawing/2014/main" id="{50D379EC-3C07-4E0B-9ED6-370AD520FDF8}"/>
                    </a:ext>
                  </a:extLst>
                </p:cNvPr>
                <p:cNvSpPr>
                  <a:spLocks/>
                </p:cNvSpPr>
                <p:nvPr/>
              </p:nvSpPr>
              <p:spPr bwMode="auto">
                <a:xfrm>
                  <a:off x="2630489" y="973138"/>
                  <a:ext cx="234950" cy="34925"/>
                </a:xfrm>
                <a:custGeom>
                  <a:avLst/>
                  <a:gdLst/>
                  <a:ahLst/>
                  <a:cxnLst>
                    <a:cxn ang="0">
                      <a:pos x="122" y="18"/>
                    </a:cxn>
                    <a:cxn ang="0">
                      <a:pos x="122" y="0"/>
                    </a:cxn>
                    <a:cxn ang="0">
                      <a:pos x="1" y="0"/>
                    </a:cxn>
                    <a:cxn ang="0">
                      <a:pos x="1" y="18"/>
                    </a:cxn>
                  </a:cxnLst>
                  <a:rect l="0" t="0" r="r" b="b"/>
                  <a:pathLst>
                    <a:path w="122" h="18">
                      <a:moveTo>
                        <a:pt x="122" y="18"/>
                      </a:moveTo>
                      <a:cubicBezTo>
                        <a:pt x="122" y="12"/>
                        <a:pt x="122" y="6"/>
                        <a:pt x="122" y="0"/>
                      </a:cubicBezTo>
                      <a:cubicBezTo>
                        <a:pt x="1" y="0"/>
                        <a:pt x="1" y="0"/>
                        <a:pt x="1" y="0"/>
                      </a:cubicBezTo>
                      <a:cubicBezTo>
                        <a:pt x="0" y="6"/>
                        <a:pt x="1" y="12"/>
                        <a:pt x="1" y="18"/>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grpSp>
          <p:sp>
            <p:nvSpPr>
              <p:cNvPr id="42" name="Donut 23">
                <a:extLst>
                  <a:ext uri="{FF2B5EF4-FFF2-40B4-BE49-F238E27FC236}">
                    <a16:creationId xmlns:a16="http://schemas.microsoft.com/office/drawing/2014/main" id="{4B7B063F-9195-460B-B397-2E9628064F20}"/>
                  </a:ext>
                </a:extLst>
              </p:cNvPr>
              <p:cNvSpPr/>
              <p:nvPr/>
            </p:nvSpPr>
            <p:spPr>
              <a:xfrm>
                <a:off x="2309255" y="3027974"/>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43" name="TextBox 24">
                <a:extLst>
                  <a:ext uri="{FF2B5EF4-FFF2-40B4-BE49-F238E27FC236}">
                    <a16:creationId xmlns:a16="http://schemas.microsoft.com/office/drawing/2014/main" id="{373C28FE-19FA-40AE-B455-99E1CBF72D2C}"/>
                  </a:ext>
                </a:extLst>
              </p:cNvPr>
              <p:cNvSpPr txBox="1"/>
              <p:nvPr/>
            </p:nvSpPr>
            <p:spPr bwMode="auto">
              <a:xfrm>
                <a:off x="3678903" y="4531447"/>
                <a:ext cx="759317" cy="293820"/>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Health-related data</a:t>
                </a:r>
              </a:p>
            </p:txBody>
          </p:sp>
          <p:grpSp>
            <p:nvGrpSpPr>
              <p:cNvPr id="44" name="Groupe 599">
                <a:extLst>
                  <a:ext uri="{FF2B5EF4-FFF2-40B4-BE49-F238E27FC236}">
                    <a16:creationId xmlns:a16="http://schemas.microsoft.com/office/drawing/2014/main" id="{FF889ACD-664A-445D-92B1-48EB89E251CB}"/>
                  </a:ext>
                </a:extLst>
              </p:cNvPr>
              <p:cNvGrpSpPr/>
              <p:nvPr/>
            </p:nvGrpSpPr>
            <p:grpSpPr>
              <a:xfrm>
                <a:off x="3481478" y="4701859"/>
                <a:ext cx="225712" cy="193548"/>
                <a:chOff x="2911476" y="4708526"/>
                <a:chExt cx="320675" cy="301625"/>
              </a:xfrm>
            </p:grpSpPr>
            <p:sp>
              <p:nvSpPr>
                <p:cNvPr id="114" name="Freeform 378">
                  <a:extLst>
                    <a:ext uri="{FF2B5EF4-FFF2-40B4-BE49-F238E27FC236}">
                      <a16:creationId xmlns:a16="http://schemas.microsoft.com/office/drawing/2014/main" id="{F8E1F412-BC4D-4F60-A147-0D8DC121BE0C}"/>
                    </a:ext>
                  </a:extLst>
                </p:cNvPr>
                <p:cNvSpPr>
                  <a:spLocks/>
                </p:cNvSpPr>
                <p:nvPr/>
              </p:nvSpPr>
              <p:spPr bwMode="auto">
                <a:xfrm>
                  <a:off x="3011489" y="4708526"/>
                  <a:ext cx="111125" cy="50800"/>
                </a:xfrm>
                <a:custGeom>
                  <a:avLst/>
                  <a:gdLst/>
                  <a:ahLst/>
                  <a:cxnLst>
                    <a:cxn ang="0">
                      <a:pos x="0" y="32"/>
                    </a:cxn>
                    <a:cxn ang="0">
                      <a:pos x="0" y="0"/>
                    </a:cxn>
                    <a:cxn ang="0">
                      <a:pos x="70" y="0"/>
                    </a:cxn>
                    <a:cxn ang="0">
                      <a:pos x="70" y="32"/>
                    </a:cxn>
                  </a:cxnLst>
                  <a:rect l="0" t="0" r="r" b="b"/>
                  <a:pathLst>
                    <a:path w="70" h="32">
                      <a:moveTo>
                        <a:pt x="0" y="32"/>
                      </a:moveTo>
                      <a:lnTo>
                        <a:pt x="0" y="0"/>
                      </a:lnTo>
                      <a:lnTo>
                        <a:pt x="70" y="0"/>
                      </a:lnTo>
                      <a:lnTo>
                        <a:pt x="70" y="32"/>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15" name="Freeform 379">
                  <a:extLst>
                    <a:ext uri="{FF2B5EF4-FFF2-40B4-BE49-F238E27FC236}">
                      <a16:creationId xmlns:a16="http://schemas.microsoft.com/office/drawing/2014/main" id="{5A96B459-DF27-404C-A43E-D80B57024D93}"/>
                    </a:ext>
                  </a:extLst>
                </p:cNvPr>
                <p:cNvSpPr>
                  <a:spLocks/>
                </p:cNvSpPr>
                <p:nvPr/>
              </p:nvSpPr>
              <p:spPr bwMode="auto">
                <a:xfrm>
                  <a:off x="2911476" y="4773613"/>
                  <a:ext cx="320675" cy="236538"/>
                </a:xfrm>
                <a:custGeom>
                  <a:avLst/>
                  <a:gdLst/>
                  <a:ahLst/>
                  <a:cxnLst>
                    <a:cxn ang="0">
                      <a:pos x="86" y="118"/>
                    </a:cxn>
                    <a:cxn ang="0">
                      <a:pos x="86" y="91"/>
                    </a:cxn>
                    <a:cxn ang="0">
                      <a:pos x="59" y="91"/>
                    </a:cxn>
                    <a:cxn ang="0">
                      <a:pos x="59" y="60"/>
                    </a:cxn>
                    <a:cxn ang="0">
                      <a:pos x="86" y="60"/>
                    </a:cxn>
                    <a:cxn ang="0">
                      <a:pos x="86" y="32"/>
                    </a:cxn>
                    <a:cxn ang="0">
                      <a:pos x="114" y="32"/>
                    </a:cxn>
                    <a:cxn ang="0">
                      <a:pos x="114" y="60"/>
                    </a:cxn>
                    <a:cxn ang="0">
                      <a:pos x="142" y="60"/>
                    </a:cxn>
                    <a:cxn ang="0">
                      <a:pos x="142" y="91"/>
                    </a:cxn>
                    <a:cxn ang="0">
                      <a:pos x="114" y="91"/>
                    </a:cxn>
                    <a:cxn ang="0">
                      <a:pos x="114" y="149"/>
                    </a:cxn>
                    <a:cxn ang="0">
                      <a:pos x="202" y="149"/>
                    </a:cxn>
                    <a:cxn ang="0">
                      <a:pos x="202" y="0"/>
                    </a:cxn>
                    <a:cxn ang="0">
                      <a:pos x="0" y="0"/>
                    </a:cxn>
                    <a:cxn ang="0">
                      <a:pos x="0" y="149"/>
                    </a:cxn>
                    <a:cxn ang="0">
                      <a:pos x="86" y="149"/>
                    </a:cxn>
                  </a:cxnLst>
                  <a:rect l="0" t="0" r="r" b="b"/>
                  <a:pathLst>
                    <a:path w="202" h="149">
                      <a:moveTo>
                        <a:pt x="86" y="118"/>
                      </a:moveTo>
                      <a:lnTo>
                        <a:pt x="86" y="91"/>
                      </a:lnTo>
                      <a:lnTo>
                        <a:pt x="59" y="91"/>
                      </a:lnTo>
                      <a:lnTo>
                        <a:pt x="59" y="60"/>
                      </a:lnTo>
                      <a:lnTo>
                        <a:pt x="86" y="60"/>
                      </a:lnTo>
                      <a:lnTo>
                        <a:pt x="86" y="32"/>
                      </a:lnTo>
                      <a:lnTo>
                        <a:pt x="114" y="32"/>
                      </a:lnTo>
                      <a:lnTo>
                        <a:pt x="114" y="60"/>
                      </a:lnTo>
                      <a:lnTo>
                        <a:pt x="142" y="60"/>
                      </a:lnTo>
                      <a:lnTo>
                        <a:pt x="142" y="91"/>
                      </a:lnTo>
                      <a:lnTo>
                        <a:pt x="114" y="91"/>
                      </a:lnTo>
                      <a:lnTo>
                        <a:pt x="114" y="149"/>
                      </a:lnTo>
                      <a:lnTo>
                        <a:pt x="202" y="149"/>
                      </a:lnTo>
                      <a:lnTo>
                        <a:pt x="202" y="0"/>
                      </a:lnTo>
                      <a:lnTo>
                        <a:pt x="0" y="0"/>
                      </a:lnTo>
                      <a:lnTo>
                        <a:pt x="0" y="149"/>
                      </a:lnTo>
                      <a:lnTo>
                        <a:pt x="86" y="149"/>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grpSp>
          <p:sp>
            <p:nvSpPr>
              <p:cNvPr id="45" name="Donut 26">
                <a:extLst>
                  <a:ext uri="{FF2B5EF4-FFF2-40B4-BE49-F238E27FC236}">
                    <a16:creationId xmlns:a16="http://schemas.microsoft.com/office/drawing/2014/main" id="{2955F255-F142-442B-95D3-020730349BC2}"/>
                  </a:ext>
                </a:extLst>
              </p:cNvPr>
              <p:cNvSpPr/>
              <p:nvPr/>
            </p:nvSpPr>
            <p:spPr>
              <a:xfrm>
                <a:off x="3352499" y="4591181"/>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46" name="TextBox 28">
                <a:extLst>
                  <a:ext uri="{FF2B5EF4-FFF2-40B4-BE49-F238E27FC236}">
                    <a16:creationId xmlns:a16="http://schemas.microsoft.com/office/drawing/2014/main" id="{841E1F24-D3D2-4DA6-B334-0F94BDA5FD5E}"/>
                  </a:ext>
                </a:extLst>
              </p:cNvPr>
              <p:cNvSpPr txBox="1"/>
              <p:nvPr/>
            </p:nvSpPr>
            <p:spPr bwMode="auto">
              <a:xfrm>
                <a:off x="1010608" y="3156908"/>
                <a:ext cx="827234" cy="290293"/>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Name, surname, age</a:t>
                </a:r>
              </a:p>
            </p:txBody>
          </p:sp>
          <p:pic>
            <p:nvPicPr>
              <p:cNvPr id="47" name="Content Placeholder 91" descr="shutterstock_210381580 [Converted].png">
                <a:extLst>
                  <a:ext uri="{FF2B5EF4-FFF2-40B4-BE49-F238E27FC236}">
                    <a16:creationId xmlns:a16="http://schemas.microsoft.com/office/drawing/2014/main" id="{71697DB6-5B57-452C-A210-365F157ED610}"/>
                  </a:ext>
                </a:extLst>
              </p:cNvPr>
              <p:cNvPicPr>
                <a:picLocks noChangeAspect="1"/>
              </p:cNvPicPr>
              <p:nvPr/>
            </p:nvPicPr>
            <p:blipFill>
              <a:blip r:embed="rId13" cstate="print"/>
              <a:srcRect l="79538" t="78449" r="7274" b="7361"/>
              <a:stretch>
                <a:fillRect/>
              </a:stretch>
            </p:blipFill>
            <p:spPr bwMode="auto">
              <a:xfrm>
                <a:off x="1632409" y="3384733"/>
                <a:ext cx="264821" cy="259761"/>
              </a:xfrm>
              <a:prstGeom prst="rect">
                <a:avLst/>
              </a:prstGeom>
              <a:noFill/>
              <a:ln w="9525">
                <a:noFill/>
                <a:miter lim="800000"/>
                <a:headEnd/>
                <a:tailEnd/>
              </a:ln>
            </p:spPr>
          </p:pic>
          <p:sp>
            <p:nvSpPr>
              <p:cNvPr id="48" name="Donut 30">
                <a:extLst>
                  <a:ext uri="{FF2B5EF4-FFF2-40B4-BE49-F238E27FC236}">
                    <a16:creationId xmlns:a16="http://schemas.microsoft.com/office/drawing/2014/main" id="{CFB87005-2EE2-4AE4-B870-FCED11B1A594}"/>
                  </a:ext>
                </a:extLst>
              </p:cNvPr>
              <p:cNvSpPr/>
              <p:nvPr/>
            </p:nvSpPr>
            <p:spPr>
              <a:xfrm>
                <a:off x="1522984" y="3294013"/>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49" name="TextBox 31">
                <a:extLst>
                  <a:ext uri="{FF2B5EF4-FFF2-40B4-BE49-F238E27FC236}">
                    <a16:creationId xmlns:a16="http://schemas.microsoft.com/office/drawing/2014/main" id="{CA4EB4D0-2046-4DF7-9549-888D4C3F5B2D}"/>
                  </a:ext>
                </a:extLst>
              </p:cNvPr>
              <p:cNvSpPr txBox="1"/>
              <p:nvPr/>
            </p:nvSpPr>
            <p:spPr bwMode="auto">
              <a:xfrm>
                <a:off x="3630960" y="3759888"/>
                <a:ext cx="716687" cy="233879"/>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Bank details</a:t>
                </a:r>
              </a:p>
            </p:txBody>
          </p:sp>
          <p:sp>
            <p:nvSpPr>
              <p:cNvPr id="50" name="TextBox 32">
                <a:extLst>
                  <a:ext uri="{FF2B5EF4-FFF2-40B4-BE49-F238E27FC236}">
                    <a16:creationId xmlns:a16="http://schemas.microsoft.com/office/drawing/2014/main" id="{3A8DD3B7-EB50-44CB-89F3-3063AFE2169C}"/>
                  </a:ext>
                </a:extLst>
              </p:cNvPr>
              <p:cNvSpPr txBox="1"/>
              <p:nvPr/>
            </p:nvSpPr>
            <p:spPr bwMode="auto">
              <a:xfrm>
                <a:off x="706835" y="3676897"/>
                <a:ext cx="1080158" cy="311548"/>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Religious affiliation</a:t>
                </a:r>
              </a:p>
            </p:txBody>
          </p:sp>
          <p:sp>
            <p:nvSpPr>
              <p:cNvPr id="51" name="Donut 34">
                <a:extLst>
                  <a:ext uri="{FF2B5EF4-FFF2-40B4-BE49-F238E27FC236}">
                    <a16:creationId xmlns:a16="http://schemas.microsoft.com/office/drawing/2014/main" id="{9F2C6B7C-BD04-46C2-AE83-C05DCE468E4C}"/>
                  </a:ext>
                </a:extLst>
              </p:cNvPr>
              <p:cNvSpPr/>
              <p:nvPr/>
            </p:nvSpPr>
            <p:spPr>
              <a:xfrm>
                <a:off x="1151139" y="3917892"/>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52" name="TextBox 47">
                <a:extLst>
                  <a:ext uri="{FF2B5EF4-FFF2-40B4-BE49-F238E27FC236}">
                    <a16:creationId xmlns:a16="http://schemas.microsoft.com/office/drawing/2014/main" id="{270C9CD1-A6E6-4CB8-9002-109C40A18B55}"/>
                  </a:ext>
                </a:extLst>
              </p:cNvPr>
              <p:cNvSpPr txBox="1"/>
              <p:nvPr/>
            </p:nvSpPr>
            <p:spPr bwMode="auto">
              <a:xfrm>
                <a:off x="1251725" y="4722880"/>
                <a:ext cx="504227" cy="177802"/>
              </a:xfrm>
              <a:prstGeom prst="rect">
                <a:avLst/>
              </a:prstGeom>
              <a:noFill/>
              <a:ln w="9525">
                <a:noFill/>
                <a:miter lim="800000"/>
                <a:headEnd/>
                <a:tailEnd/>
              </a:ln>
            </p:spPr>
            <p:txBody>
              <a:bodyPr wrap="square" lIns="0" tIns="0" rIns="0" bIns="0" rtlCol="0" anchor="ctr">
                <a:noAutofit/>
              </a:bodyPr>
              <a:lstStyle/>
              <a:p>
                <a:pPr algn="ctr"/>
                <a:r>
                  <a:rPr lang="en-GB" sz="984" dirty="0">
                    <a:solidFill>
                      <a:schemeClr val="tx1">
                        <a:lumMod val="85000"/>
                        <a:lumOff val="15000"/>
                      </a:schemeClr>
                    </a:solidFill>
                    <a:latin typeface="Calibri" pitchFamily="34" charset="0"/>
                    <a:cs typeface="Calibri" pitchFamily="34" charset="0"/>
                  </a:rPr>
                  <a:t>...</a:t>
                </a:r>
              </a:p>
            </p:txBody>
          </p:sp>
          <p:sp>
            <p:nvSpPr>
              <p:cNvPr id="53" name="Donut 48">
                <a:extLst>
                  <a:ext uri="{FF2B5EF4-FFF2-40B4-BE49-F238E27FC236}">
                    <a16:creationId xmlns:a16="http://schemas.microsoft.com/office/drawing/2014/main" id="{39DF97F3-310C-4EA4-88A2-0A489B5BDDAD}"/>
                  </a:ext>
                </a:extLst>
              </p:cNvPr>
              <p:cNvSpPr/>
              <p:nvPr/>
            </p:nvSpPr>
            <p:spPr>
              <a:xfrm>
                <a:off x="1262003" y="4591181"/>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54" name="TextBox 49">
                <a:extLst>
                  <a:ext uri="{FF2B5EF4-FFF2-40B4-BE49-F238E27FC236}">
                    <a16:creationId xmlns:a16="http://schemas.microsoft.com/office/drawing/2014/main" id="{E7E249BB-5A57-45D3-9DC2-44DCB1286019}"/>
                  </a:ext>
                </a:extLst>
              </p:cNvPr>
              <p:cNvSpPr txBox="1"/>
              <p:nvPr/>
            </p:nvSpPr>
            <p:spPr bwMode="auto">
              <a:xfrm>
                <a:off x="3168176" y="5303120"/>
                <a:ext cx="608225" cy="219015"/>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Interests</a:t>
                </a:r>
                <a:r>
                  <a:rPr lang="en-GB" sz="984" dirty="0">
                    <a:solidFill>
                      <a:schemeClr val="tx1">
                        <a:lumMod val="85000"/>
                        <a:lumOff val="15000"/>
                      </a:schemeClr>
                    </a:solidFill>
                    <a:latin typeface="Calibri"/>
                    <a:cs typeface="Calibri"/>
                  </a:rPr>
                  <a:t> &amp; hobbies</a:t>
                </a:r>
                <a:endParaRPr lang="en-GB" sz="984" dirty="0">
                  <a:solidFill>
                    <a:schemeClr val="tx1">
                      <a:lumMod val="85000"/>
                      <a:lumOff val="15000"/>
                    </a:schemeClr>
                  </a:solidFill>
                  <a:latin typeface="Calibri" pitchFamily="34" charset="0"/>
                  <a:cs typeface="Calibri" pitchFamily="34" charset="0"/>
                </a:endParaRPr>
              </a:p>
            </p:txBody>
          </p:sp>
          <p:sp>
            <p:nvSpPr>
              <p:cNvPr id="55" name="TextBox 50">
                <a:extLst>
                  <a:ext uri="{FF2B5EF4-FFF2-40B4-BE49-F238E27FC236}">
                    <a16:creationId xmlns:a16="http://schemas.microsoft.com/office/drawing/2014/main" id="{21905CB9-E641-4940-B8CA-50B75462BDEB}"/>
                  </a:ext>
                </a:extLst>
              </p:cNvPr>
              <p:cNvSpPr txBox="1"/>
              <p:nvPr/>
            </p:nvSpPr>
            <p:spPr bwMode="auto">
              <a:xfrm>
                <a:off x="3340146" y="3173741"/>
                <a:ext cx="1010711" cy="269757"/>
              </a:xfrm>
              <a:prstGeom prst="rect">
                <a:avLst/>
              </a:prstGeom>
              <a:noFill/>
              <a:ln w="9525">
                <a:noFill/>
                <a:miter lim="800000"/>
                <a:headEnd/>
                <a:tailEnd/>
              </a:ln>
            </p:spPr>
            <p:txBody>
              <a:bodyPr wrap="square" rtlCol="0" anchor="ctr">
                <a:noAutofit/>
              </a:bodyPr>
              <a:lstStyle/>
              <a:p>
                <a:pPr algn="ctr"/>
                <a:r>
                  <a:rPr lang="en-GB" sz="984" dirty="0">
                    <a:solidFill>
                      <a:schemeClr val="tx1">
                        <a:lumMod val="85000"/>
                        <a:lumOff val="15000"/>
                      </a:schemeClr>
                    </a:solidFill>
                    <a:latin typeface="Calibri" pitchFamily="34" charset="0"/>
                    <a:cs typeface="Calibri" pitchFamily="34" charset="0"/>
                  </a:rPr>
                  <a:t>CVs, assessments, salary slips</a:t>
                </a:r>
              </a:p>
            </p:txBody>
          </p:sp>
          <p:sp>
            <p:nvSpPr>
              <p:cNvPr id="56" name="Donut 51">
                <a:extLst>
                  <a:ext uri="{FF2B5EF4-FFF2-40B4-BE49-F238E27FC236}">
                    <a16:creationId xmlns:a16="http://schemas.microsoft.com/office/drawing/2014/main" id="{678BA7B2-D6B0-456C-8C24-2B9A7299A7E2}"/>
                  </a:ext>
                </a:extLst>
              </p:cNvPr>
              <p:cNvSpPr/>
              <p:nvPr/>
            </p:nvSpPr>
            <p:spPr>
              <a:xfrm>
                <a:off x="3084624" y="3294013"/>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pic>
            <p:nvPicPr>
              <p:cNvPr id="57" name="Picture 7" descr="D:\Pallavi\JOBS\2014 Live jobs\09 September\12 Sept Sarah OUADAH (FRA)\shutterstock_134676617.jpg">
                <a:extLst>
                  <a:ext uri="{FF2B5EF4-FFF2-40B4-BE49-F238E27FC236}">
                    <a16:creationId xmlns:a16="http://schemas.microsoft.com/office/drawing/2014/main" id="{D7BC9D3A-F321-4781-9DD4-E8C1640969F5}"/>
                  </a:ext>
                </a:extLst>
              </p:cNvPr>
              <p:cNvPicPr>
                <a:picLocks noChangeAspect="1" noChangeArrowheads="1"/>
              </p:cNvPicPr>
              <p:nvPr/>
            </p:nvPicPr>
            <p:blipFill>
              <a:blip r:embed="rId14" cstate="print">
                <a:clrChange>
                  <a:clrFrom>
                    <a:srgbClr val="FFFFFF"/>
                  </a:clrFrom>
                  <a:clrTo>
                    <a:srgbClr val="FFFFFF">
                      <a:alpha val="0"/>
                    </a:srgbClr>
                  </a:clrTo>
                </a:clrChange>
                <a:grayscl/>
              </a:blip>
              <a:srcRect l="4752" t="53404" r="79935" b="28001"/>
              <a:stretch>
                <a:fillRect/>
              </a:stretch>
            </p:blipFill>
            <p:spPr bwMode="auto">
              <a:xfrm>
                <a:off x="3222491" y="3399521"/>
                <a:ext cx="207935" cy="230186"/>
              </a:xfrm>
              <a:prstGeom prst="rect">
                <a:avLst/>
              </a:prstGeom>
              <a:noFill/>
              <a:ln>
                <a:solidFill>
                  <a:schemeClr val="accent5">
                    <a:lumMod val="50000"/>
                  </a:schemeClr>
                </a:solidFill>
              </a:ln>
            </p:spPr>
          </p:pic>
          <p:sp>
            <p:nvSpPr>
              <p:cNvPr id="58" name="Freeform 759">
                <a:extLst>
                  <a:ext uri="{FF2B5EF4-FFF2-40B4-BE49-F238E27FC236}">
                    <a16:creationId xmlns:a16="http://schemas.microsoft.com/office/drawing/2014/main" id="{13A61D3E-5146-4257-96E6-467B775ED750}"/>
                  </a:ext>
                </a:extLst>
              </p:cNvPr>
              <p:cNvSpPr>
                <a:spLocks/>
              </p:cNvSpPr>
              <p:nvPr/>
            </p:nvSpPr>
            <p:spPr bwMode="auto">
              <a:xfrm>
                <a:off x="2173224" y="3977855"/>
                <a:ext cx="745891" cy="684819"/>
              </a:xfrm>
              <a:custGeom>
                <a:avLst/>
                <a:gdLst/>
                <a:ahLst/>
                <a:cxnLst>
                  <a:cxn ang="0">
                    <a:pos x="0" y="49"/>
                  </a:cxn>
                  <a:cxn ang="0">
                    <a:pos x="50" y="0"/>
                  </a:cxn>
                  <a:cxn ang="0">
                    <a:pos x="50" y="0"/>
                  </a:cxn>
                  <a:cxn ang="0">
                    <a:pos x="50" y="0"/>
                  </a:cxn>
                  <a:cxn ang="0">
                    <a:pos x="99" y="49"/>
                  </a:cxn>
                  <a:cxn ang="0">
                    <a:pos x="99" y="49"/>
                  </a:cxn>
                  <a:cxn ang="0">
                    <a:pos x="99" y="49"/>
                  </a:cxn>
                  <a:cxn ang="0">
                    <a:pos x="50" y="99"/>
                  </a:cxn>
                  <a:cxn ang="0">
                    <a:pos x="50" y="99"/>
                  </a:cxn>
                  <a:cxn ang="0">
                    <a:pos x="50" y="99"/>
                  </a:cxn>
                  <a:cxn ang="0">
                    <a:pos x="0" y="49"/>
                  </a:cxn>
                  <a:cxn ang="0">
                    <a:pos x="0" y="49"/>
                  </a:cxn>
                </a:cxnLst>
                <a:rect l="0" t="0" r="r" b="b"/>
                <a:pathLst>
                  <a:path w="99" h="99">
                    <a:moveTo>
                      <a:pt x="0" y="49"/>
                    </a:moveTo>
                    <a:cubicBezTo>
                      <a:pt x="0" y="22"/>
                      <a:pt x="23" y="0"/>
                      <a:pt x="50" y="0"/>
                    </a:cubicBezTo>
                    <a:cubicBezTo>
                      <a:pt x="50" y="0"/>
                      <a:pt x="50" y="0"/>
                      <a:pt x="50" y="0"/>
                    </a:cubicBezTo>
                    <a:cubicBezTo>
                      <a:pt x="50" y="0"/>
                      <a:pt x="50" y="0"/>
                      <a:pt x="50" y="0"/>
                    </a:cubicBezTo>
                    <a:cubicBezTo>
                      <a:pt x="77" y="0"/>
                      <a:pt x="99" y="22"/>
                      <a:pt x="99" y="49"/>
                    </a:cubicBezTo>
                    <a:cubicBezTo>
                      <a:pt x="99" y="49"/>
                      <a:pt x="99" y="49"/>
                      <a:pt x="99" y="49"/>
                    </a:cubicBezTo>
                    <a:cubicBezTo>
                      <a:pt x="99" y="49"/>
                      <a:pt x="99" y="49"/>
                      <a:pt x="99" y="49"/>
                    </a:cubicBezTo>
                    <a:cubicBezTo>
                      <a:pt x="99" y="77"/>
                      <a:pt x="77" y="99"/>
                      <a:pt x="50" y="99"/>
                    </a:cubicBezTo>
                    <a:cubicBezTo>
                      <a:pt x="50" y="99"/>
                      <a:pt x="50" y="99"/>
                      <a:pt x="50" y="99"/>
                    </a:cubicBezTo>
                    <a:cubicBezTo>
                      <a:pt x="50" y="99"/>
                      <a:pt x="50" y="99"/>
                      <a:pt x="50" y="99"/>
                    </a:cubicBezTo>
                    <a:cubicBezTo>
                      <a:pt x="23" y="99"/>
                      <a:pt x="0" y="77"/>
                      <a:pt x="0" y="49"/>
                    </a:cubicBezTo>
                    <a:cubicBezTo>
                      <a:pt x="0" y="49"/>
                      <a:pt x="0" y="49"/>
                      <a:pt x="0" y="49"/>
                    </a:cubicBezTo>
                    <a:close/>
                  </a:path>
                </a:pathLst>
              </a:custGeom>
              <a:noFill/>
              <a:ln w="12700" cap="rnd">
                <a:solidFill>
                  <a:schemeClr val="accent5"/>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grpSp>
            <p:nvGrpSpPr>
              <p:cNvPr id="59" name="Group 51">
                <a:extLst>
                  <a:ext uri="{FF2B5EF4-FFF2-40B4-BE49-F238E27FC236}">
                    <a16:creationId xmlns:a16="http://schemas.microsoft.com/office/drawing/2014/main" id="{6376999B-D712-4435-B353-1FD89A0809C5}"/>
                  </a:ext>
                </a:extLst>
              </p:cNvPr>
              <p:cNvGrpSpPr/>
              <p:nvPr/>
            </p:nvGrpSpPr>
            <p:grpSpPr>
              <a:xfrm>
                <a:off x="2244168" y="4126920"/>
                <a:ext cx="606133" cy="367797"/>
                <a:chOff x="6496483" y="3574473"/>
                <a:chExt cx="861148" cy="573174"/>
              </a:xfrm>
            </p:grpSpPr>
            <p:sp>
              <p:nvSpPr>
                <p:cNvPr id="109" name="Freeform 172">
                  <a:extLst>
                    <a:ext uri="{FF2B5EF4-FFF2-40B4-BE49-F238E27FC236}">
                      <a16:creationId xmlns:a16="http://schemas.microsoft.com/office/drawing/2014/main" id="{6ACADC6C-E6E3-4566-8236-58B06A677A10}"/>
                    </a:ext>
                  </a:extLst>
                </p:cNvPr>
                <p:cNvSpPr>
                  <a:spLocks/>
                </p:cNvSpPr>
                <p:nvPr/>
              </p:nvSpPr>
              <p:spPr bwMode="auto">
                <a:xfrm>
                  <a:off x="6496483" y="3757224"/>
                  <a:ext cx="287972" cy="390423"/>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noFill/>
                <a:ln w="12700" cap="rnd">
                  <a:solidFill>
                    <a:schemeClr val="accent2"/>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10" name="Freeform 173">
                  <a:extLst>
                    <a:ext uri="{FF2B5EF4-FFF2-40B4-BE49-F238E27FC236}">
                      <a16:creationId xmlns:a16="http://schemas.microsoft.com/office/drawing/2014/main" id="{2F7D996D-DABE-4E5E-9281-CBFDF827C36B}"/>
                    </a:ext>
                  </a:extLst>
                </p:cNvPr>
                <p:cNvSpPr>
                  <a:spLocks/>
                </p:cNvSpPr>
                <p:nvPr/>
              </p:nvSpPr>
              <p:spPr bwMode="auto">
                <a:xfrm>
                  <a:off x="6784455" y="3757224"/>
                  <a:ext cx="287972" cy="390423"/>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noFill/>
                <a:ln w="12700" cap="rnd">
                  <a:solidFill>
                    <a:schemeClr val="accent4"/>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11" name="Freeform 174">
                  <a:extLst>
                    <a:ext uri="{FF2B5EF4-FFF2-40B4-BE49-F238E27FC236}">
                      <a16:creationId xmlns:a16="http://schemas.microsoft.com/office/drawing/2014/main" id="{1267119B-4751-46AB-B780-CF39D917F100}"/>
                    </a:ext>
                  </a:extLst>
                </p:cNvPr>
                <p:cNvSpPr>
                  <a:spLocks/>
                </p:cNvSpPr>
                <p:nvPr/>
              </p:nvSpPr>
              <p:spPr bwMode="auto">
                <a:xfrm>
                  <a:off x="7072427" y="3757224"/>
                  <a:ext cx="285204" cy="390423"/>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noFill/>
                <a:ln w="12700" cap="rnd">
                  <a:solidFill>
                    <a:schemeClr val="accent6"/>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12" name="Freeform 175">
                  <a:extLst>
                    <a:ext uri="{FF2B5EF4-FFF2-40B4-BE49-F238E27FC236}">
                      <a16:creationId xmlns:a16="http://schemas.microsoft.com/office/drawing/2014/main" id="{FFCF73F9-AB3B-4861-B842-51D61BE08923}"/>
                    </a:ext>
                  </a:extLst>
                </p:cNvPr>
                <p:cNvSpPr>
                  <a:spLocks/>
                </p:cNvSpPr>
                <p:nvPr/>
              </p:nvSpPr>
              <p:spPr bwMode="auto">
                <a:xfrm>
                  <a:off x="6687540" y="3574473"/>
                  <a:ext cx="188289" cy="21044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noFill/>
                <a:ln w="12700" cap="rnd">
                  <a:solidFill>
                    <a:schemeClr val="accent4">
                      <a:lumMod val="60000"/>
                      <a:lumOff val="4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13" name="Freeform 176">
                  <a:extLst>
                    <a:ext uri="{FF2B5EF4-FFF2-40B4-BE49-F238E27FC236}">
                      <a16:creationId xmlns:a16="http://schemas.microsoft.com/office/drawing/2014/main" id="{1E5AB254-48DB-42CC-A826-C293C8C50783}"/>
                    </a:ext>
                  </a:extLst>
                </p:cNvPr>
                <p:cNvSpPr>
                  <a:spLocks/>
                </p:cNvSpPr>
                <p:nvPr/>
              </p:nvSpPr>
              <p:spPr bwMode="auto">
                <a:xfrm>
                  <a:off x="6972744" y="3574473"/>
                  <a:ext cx="191059" cy="21044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noFill/>
                <a:ln w="12700" cap="rnd">
                  <a:solidFill>
                    <a:schemeClr val="accent2">
                      <a:lumMod val="60000"/>
                      <a:lumOff val="4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grpSp>
          <p:sp>
            <p:nvSpPr>
              <p:cNvPr id="60" name="Donut 55">
                <a:extLst>
                  <a:ext uri="{FF2B5EF4-FFF2-40B4-BE49-F238E27FC236}">
                    <a16:creationId xmlns:a16="http://schemas.microsoft.com/office/drawing/2014/main" id="{A4AE9B8D-2A0A-4C4C-9EC2-2EF24BC3AB07}"/>
                  </a:ext>
                </a:extLst>
              </p:cNvPr>
              <p:cNvSpPr/>
              <p:nvPr/>
            </p:nvSpPr>
            <p:spPr>
              <a:xfrm>
                <a:off x="3471126" y="3917892"/>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grpSp>
            <p:nvGrpSpPr>
              <p:cNvPr id="61" name="Groupe 590">
                <a:extLst>
                  <a:ext uri="{FF2B5EF4-FFF2-40B4-BE49-F238E27FC236}">
                    <a16:creationId xmlns:a16="http://schemas.microsoft.com/office/drawing/2014/main" id="{80A077F7-F683-412B-AA1E-59DE90914EC9}"/>
                  </a:ext>
                </a:extLst>
              </p:cNvPr>
              <p:cNvGrpSpPr/>
              <p:nvPr/>
            </p:nvGrpSpPr>
            <p:grpSpPr>
              <a:xfrm>
                <a:off x="3612376" y="4024598"/>
                <a:ext cx="211187" cy="208425"/>
                <a:chOff x="1017588" y="3841750"/>
                <a:chExt cx="346075" cy="374650"/>
              </a:xfrm>
            </p:grpSpPr>
            <p:sp>
              <p:nvSpPr>
                <p:cNvPr id="100" name="Freeform 513">
                  <a:extLst>
                    <a:ext uri="{FF2B5EF4-FFF2-40B4-BE49-F238E27FC236}">
                      <a16:creationId xmlns:a16="http://schemas.microsoft.com/office/drawing/2014/main" id="{80A19E80-DDB2-4E9E-B923-A46A4B521E6C}"/>
                    </a:ext>
                  </a:extLst>
                </p:cNvPr>
                <p:cNvSpPr>
                  <a:spLocks/>
                </p:cNvSpPr>
                <p:nvPr/>
              </p:nvSpPr>
              <p:spPr bwMode="auto">
                <a:xfrm>
                  <a:off x="1017588" y="3841750"/>
                  <a:ext cx="346075" cy="77788"/>
                </a:xfrm>
                <a:custGeom>
                  <a:avLst/>
                  <a:gdLst/>
                  <a:ahLst/>
                  <a:cxnLst>
                    <a:cxn ang="0">
                      <a:pos x="177" y="49"/>
                    </a:cxn>
                    <a:cxn ang="0">
                      <a:pos x="177" y="49"/>
                    </a:cxn>
                    <a:cxn ang="0">
                      <a:pos x="218" y="49"/>
                    </a:cxn>
                    <a:cxn ang="0">
                      <a:pos x="109" y="0"/>
                    </a:cxn>
                    <a:cxn ang="0">
                      <a:pos x="0" y="49"/>
                    </a:cxn>
                    <a:cxn ang="0">
                      <a:pos x="148" y="49"/>
                    </a:cxn>
                  </a:cxnLst>
                  <a:rect l="0" t="0" r="r" b="b"/>
                  <a:pathLst>
                    <a:path w="218" h="49">
                      <a:moveTo>
                        <a:pt x="177" y="49"/>
                      </a:moveTo>
                      <a:lnTo>
                        <a:pt x="177" y="49"/>
                      </a:lnTo>
                      <a:lnTo>
                        <a:pt x="218" y="49"/>
                      </a:lnTo>
                      <a:lnTo>
                        <a:pt x="109" y="0"/>
                      </a:lnTo>
                      <a:lnTo>
                        <a:pt x="0" y="49"/>
                      </a:lnTo>
                      <a:lnTo>
                        <a:pt x="148" y="49"/>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1" name="Freeform 514">
                  <a:extLst>
                    <a:ext uri="{FF2B5EF4-FFF2-40B4-BE49-F238E27FC236}">
                      <a16:creationId xmlns:a16="http://schemas.microsoft.com/office/drawing/2014/main" id="{86D27640-38E1-4C63-9166-32273FE6D0E3}"/>
                    </a:ext>
                  </a:extLst>
                </p:cNvPr>
                <p:cNvSpPr>
                  <a:spLocks/>
                </p:cNvSpPr>
                <p:nvPr/>
              </p:nvSpPr>
              <p:spPr bwMode="auto">
                <a:xfrm>
                  <a:off x="1017588" y="4156075"/>
                  <a:ext cx="95250" cy="60325"/>
                </a:xfrm>
                <a:custGeom>
                  <a:avLst/>
                  <a:gdLst/>
                  <a:ahLst/>
                  <a:cxnLst>
                    <a:cxn ang="0">
                      <a:pos x="49" y="23"/>
                    </a:cxn>
                    <a:cxn ang="0">
                      <a:pos x="49" y="23"/>
                    </a:cxn>
                    <a:cxn ang="0">
                      <a:pos x="42" y="31"/>
                    </a:cxn>
                    <a:cxn ang="0">
                      <a:pos x="7" y="31"/>
                    </a:cxn>
                    <a:cxn ang="0">
                      <a:pos x="0" y="23"/>
                    </a:cxn>
                    <a:cxn ang="0">
                      <a:pos x="0" y="9"/>
                    </a:cxn>
                    <a:cxn ang="0">
                      <a:pos x="7" y="0"/>
                    </a:cxn>
                    <a:cxn ang="0">
                      <a:pos x="42" y="0"/>
                    </a:cxn>
                    <a:cxn ang="0">
                      <a:pos x="49" y="9"/>
                    </a:cxn>
                    <a:cxn ang="0">
                      <a:pos x="49" y="10"/>
                    </a:cxn>
                  </a:cxnLst>
                  <a:rect l="0" t="0" r="r" b="b"/>
                  <a:pathLst>
                    <a:path w="49" h="31">
                      <a:moveTo>
                        <a:pt x="49" y="23"/>
                      </a:moveTo>
                      <a:cubicBezTo>
                        <a:pt x="49" y="23"/>
                        <a:pt x="49" y="23"/>
                        <a:pt x="49" y="23"/>
                      </a:cubicBezTo>
                      <a:cubicBezTo>
                        <a:pt x="49" y="28"/>
                        <a:pt x="46" y="31"/>
                        <a:pt x="42" y="31"/>
                      </a:cubicBezTo>
                      <a:cubicBezTo>
                        <a:pt x="7" y="31"/>
                        <a:pt x="7" y="31"/>
                        <a:pt x="7" y="31"/>
                      </a:cubicBezTo>
                      <a:cubicBezTo>
                        <a:pt x="3" y="31"/>
                        <a:pt x="0" y="28"/>
                        <a:pt x="0" y="23"/>
                      </a:cubicBezTo>
                      <a:cubicBezTo>
                        <a:pt x="0" y="9"/>
                        <a:pt x="0" y="9"/>
                        <a:pt x="0" y="9"/>
                      </a:cubicBezTo>
                      <a:cubicBezTo>
                        <a:pt x="0" y="4"/>
                        <a:pt x="3" y="0"/>
                        <a:pt x="7" y="0"/>
                      </a:cubicBezTo>
                      <a:cubicBezTo>
                        <a:pt x="42" y="0"/>
                        <a:pt x="42" y="0"/>
                        <a:pt x="42" y="0"/>
                      </a:cubicBezTo>
                      <a:cubicBezTo>
                        <a:pt x="46" y="0"/>
                        <a:pt x="49" y="4"/>
                        <a:pt x="49" y="9"/>
                      </a:cubicBezTo>
                      <a:cubicBezTo>
                        <a:pt x="49" y="10"/>
                        <a:pt x="49" y="10"/>
                        <a:pt x="49" y="10"/>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2" name="Freeform 515">
                  <a:extLst>
                    <a:ext uri="{FF2B5EF4-FFF2-40B4-BE49-F238E27FC236}">
                      <a16:creationId xmlns:a16="http://schemas.microsoft.com/office/drawing/2014/main" id="{6DE4B160-03F4-4801-9687-847E9A579113}"/>
                    </a:ext>
                  </a:extLst>
                </p:cNvPr>
                <p:cNvSpPr>
                  <a:spLocks/>
                </p:cNvSpPr>
                <p:nvPr/>
              </p:nvSpPr>
              <p:spPr bwMode="auto">
                <a:xfrm>
                  <a:off x="1271588" y="4156075"/>
                  <a:ext cx="92075" cy="60325"/>
                </a:xfrm>
                <a:custGeom>
                  <a:avLst/>
                  <a:gdLst/>
                  <a:ahLst/>
                  <a:cxnLst>
                    <a:cxn ang="0">
                      <a:pos x="48" y="23"/>
                    </a:cxn>
                    <a:cxn ang="0">
                      <a:pos x="48" y="23"/>
                    </a:cxn>
                    <a:cxn ang="0">
                      <a:pos x="41" y="31"/>
                    </a:cxn>
                    <a:cxn ang="0">
                      <a:pos x="7" y="31"/>
                    </a:cxn>
                    <a:cxn ang="0">
                      <a:pos x="0" y="23"/>
                    </a:cxn>
                    <a:cxn ang="0">
                      <a:pos x="0" y="9"/>
                    </a:cxn>
                    <a:cxn ang="0">
                      <a:pos x="7" y="0"/>
                    </a:cxn>
                    <a:cxn ang="0">
                      <a:pos x="41" y="0"/>
                    </a:cxn>
                    <a:cxn ang="0">
                      <a:pos x="48" y="9"/>
                    </a:cxn>
                    <a:cxn ang="0">
                      <a:pos x="48" y="10"/>
                    </a:cxn>
                  </a:cxnLst>
                  <a:rect l="0" t="0" r="r" b="b"/>
                  <a:pathLst>
                    <a:path w="48" h="31">
                      <a:moveTo>
                        <a:pt x="48" y="23"/>
                      </a:moveTo>
                      <a:cubicBezTo>
                        <a:pt x="48" y="23"/>
                        <a:pt x="48" y="23"/>
                        <a:pt x="48" y="23"/>
                      </a:cubicBezTo>
                      <a:cubicBezTo>
                        <a:pt x="48" y="28"/>
                        <a:pt x="45" y="31"/>
                        <a:pt x="41" y="31"/>
                      </a:cubicBezTo>
                      <a:cubicBezTo>
                        <a:pt x="7" y="31"/>
                        <a:pt x="7" y="31"/>
                        <a:pt x="7" y="31"/>
                      </a:cubicBezTo>
                      <a:cubicBezTo>
                        <a:pt x="3" y="31"/>
                        <a:pt x="0" y="28"/>
                        <a:pt x="0" y="23"/>
                      </a:cubicBezTo>
                      <a:cubicBezTo>
                        <a:pt x="0" y="9"/>
                        <a:pt x="0" y="9"/>
                        <a:pt x="0" y="9"/>
                      </a:cubicBezTo>
                      <a:cubicBezTo>
                        <a:pt x="0" y="4"/>
                        <a:pt x="3" y="0"/>
                        <a:pt x="7" y="0"/>
                      </a:cubicBezTo>
                      <a:cubicBezTo>
                        <a:pt x="41" y="0"/>
                        <a:pt x="41" y="0"/>
                        <a:pt x="41" y="0"/>
                      </a:cubicBezTo>
                      <a:cubicBezTo>
                        <a:pt x="45" y="0"/>
                        <a:pt x="48" y="4"/>
                        <a:pt x="48" y="9"/>
                      </a:cubicBezTo>
                      <a:cubicBezTo>
                        <a:pt x="48" y="10"/>
                        <a:pt x="48" y="10"/>
                        <a:pt x="48" y="10"/>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3" name="Freeform 516">
                  <a:extLst>
                    <a:ext uri="{FF2B5EF4-FFF2-40B4-BE49-F238E27FC236}">
                      <a16:creationId xmlns:a16="http://schemas.microsoft.com/office/drawing/2014/main" id="{E85D74FC-E9DE-4330-B30A-2871B6FA0F91}"/>
                    </a:ext>
                  </a:extLst>
                </p:cNvPr>
                <p:cNvSpPr>
                  <a:spLocks/>
                </p:cNvSpPr>
                <p:nvPr/>
              </p:nvSpPr>
              <p:spPr bwMode="auto">
                <a:xfrm>
                  <a:off x="1073151" y="3951288"/>
                  <a:ext cx="42863" cy="176213"/>
                </a:xfrm>
                <a:custGeom>
                  <a:avLst/>
                  <a:gdLst/>
                  <a:ahLst/>
                  <a:cxnLst>
                    <a:cxn ang="0">
                      <a:pos x="22" y="33"/>
                    </a:cxn>
                    <a:cxn ang="0">
                      <a:pos x="22" y="33"/>
                    </a:cxn>
                    <a:cxn ang="0">
                      <a:pos x="22" y="82"/>
                    </a:cxn>
                    <a:cxn ang="0">
                      <a:pos x="15" y="91"/>
                    </a:cxn>
                    <a:cxn ang="0">
                      <a:pos x="7" y="91"/>
                    </a:cxn>
                    <a:cxn ang="0">
                      <a:pos x="0" y="82"/>
                    </a:cxn>
                    <a:cxn ang="0">
                      <a:pos x="0" y="9"/>
                    </a:cxn>
                    <a:cxn ang="0">
                      <a:pos x="7" y="0"/>
                    </a:cxn>
                    <a:cxn ang="0">
                      <a:pos x="15" y="0"/>
                    </a:cxn>
                    <a:cxn ang="0">
                      <a:pos x="22" y="9"/>
                    </a:cxn>
                    <a:cxn ang="0">
                      <a:pos x="22" y="15"/>
                    </a:cxn>
                  </a:cxnLst>
                  <a:rect l="0" t="0" r="r" b="b"/>
                  <a:pathLst>
                    <a:path w="22" h="91">
                      <a:moveTo>
                        <a:pt x="22" y="33"/>
                      </a:moveTo>
                      <a:cubicBezTo>
                        <a:pt x="22" y="33"/>
                        <a:pt x="22" y="33"/>
                        <a:pt x="22" y="33"/>
                      </a:cubicBezTo>
                      <a:cubicBezTo>
                        <a:pt x="22" y="82"/>
                        <a:pt x="22" y="82"/>
                        <a:pt x="22" y="82"/>
                      </a:cubicBezTo>
                      <a:cubicBezTo>
                        <a:pt x="22" y="87"/>
                        <a:pt x="19" y="91"/>
                        <a:pt x="15" y="91"/>
                      </a:cubicBezTo>
                      <a:cubicBezTo>
                        <a:pt x="7" y="91"/>
                        <a:pt x="7" y="91"/>
                        <a:pt x="7" y="91"/>
                      </a:cubicBezTo>
                      <a:cubicBezTo>
                        <a:pt x="3" y="91"/>
                        <a:pt x="0" y="87"/>
                        <a:pt x="0" y="82"/>
                      </a:cubicBezTo>
                      <a:cubicBezTo>
                        <a:pt x="0" y="9"/>
                        <a:pt x="0" y="9"/>
                        <a:pt x="0" y="9"/>
                      </a:cubicBezTo>
                      <a:cubicBezTo>
                        <a:pt x="0" y="4"/>
                        <a:pt x="3" y="0"/>
                        <a:pt x="7" y="0"/>
                      </a:cubicBezTo>
                      <a:cubicBezTo>
                        <a:pt x="15" y="0"/>
                        <a:pt x="15" y="0"/>
                        <a:pt x="15" y="0"/>
                      </a:cubicBezTo>
                      <a:cubicBezTo>
                        <a:pt x="19" y="0"/>
                        <a:pt x="22" y="4"/>
                        <a:pt x="22" y="9"/>
                      </a:cubicBezTo>
                      <a:cubicBezTo>
                        <a:pt x="22" y="15"/>
                        <a:pt x="22" y="15"/>
                        <a:pt x="22" y="15"/>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4" name="Freeform 517">
                  <a:extLst>
                    <a:ext uri="{FF2B5EF4-FFF2-40B4-BE49-F238E27FC236}">
                      <a16:creationId xmlns:a16="http://schemas.microsoft.com/office/drawing/2014/main" id="{50B7E2A1-6968-41E5-92FE-5E35B08EDF0F}"/>
                    </a:ext>
                  </a:extLst>
                </p:cNvPr>
                <p:cNvSpPr>
                  <a:spLocks/>
                </p:cNvSpPr>
                <p:nvPr/>
              </p:nvSpPr>
              <p:spPr bwMode="auto">
                <a:xfrm>
                  <a:off x="1166813" y="3951288"/>
                  <a:ext cx="44450" cy="176213"/>
                </a:xfrm>
                <a:custGeom>
                  <a:avLst/>
                  <a:gdLst/>
                  <a:ahLst/>
                  <a:cxnLst>
                    <a:cxn ang="0">
                      <a:pos x="23" y="33"/>
                    </a:cxn>
                    <a:cxn ang="0">
                      <a:pos x="23" y="33"/>
                    </a:cxn>
                    <a:cxn ang="0">
                      <a:pos x="23" y="82"/>
                    </a:cxn>
                    <a:cxn ang="0">
                      <a:pos x="16" y="91"/>
                    </a:cxn>
                    <a:cxn ang="0">
                      <a:pos x="8" y="91"/>
                    </a:cxn>
                    <a:cxn ang="0">
                      <a:pos x="0" y="82"/>
                    </a:cxn>
                    <a:cxn ang="0">
                      <a:pos x="0" y="9"/>
                    </a:cxn>
                    <a:cxn ang="0">
                      <a:pos x="8" y="0"/>
                    </a:cxn>
                    <a:cxn ang="0">
                      <a:pos x="16" y="0"/>
                    </a:cxn>
                    <a:cxn ang="0">
                      <a:pos x="23" y="9"/>
                    </a:cxn>
                    <a:cxn ang="0">
                      <a:pos x="23" y="15"/>
                    </a:cxn>
                  </a:cxnLst>
                  <a:rect l="0" t="0" r="r" b="b"/>
                  <a:pathLst>
                    <a:path w="23" h="91">
                      <a:moveTo>
                        <a:pt x="23" y="33"/>
                      </a:moveTo>
                      <a:cubicBezTo>
                        <a:pt x="23" y="33"/>
                        <a:pt x="23" y="33"/>
                        <a:pt x="23" y="33"/>
                      </a:cubicBezTo>
                      <a:cubicBezTo>
                        <a:pt x="23" y="82"/>
                        <a:pt x="23" y="82"/>
                        <a:pt x="23" y="82"/>
                      </a:cubicBezTo>
                      <a:cubicBezTo>
                        <a:pt x="23" y="87"/>
                        <a:pt x="20" y="91"/>
                        <a:pt x="16" y="91"/>
                      </a:cubicBezTo>
                      <a:cubicBezTo>
                        <a:pt x="8" y="91"/>
                        <a:pt x="8" y="91"/>
                        <a:pt x="8" y="91"/>
                      </a:cubicBezTo>
                      <a:cubicBezTo>
                        <a:pt x="4" y="91"/>
                        <a:pt x="0" y="87"/>
                        <a:pt x="0" y="82"/>
                      </a:cubicBezTo>
                      <a:cubicBezTo>
                        <a:pt x="0" y="9"/>
                        <a:pt x="0" y="9"/>
                        <a:pt x="0" y="9"/>
                      </a:cubicBezTo>
                      <a:cubicBezTo>
                        <a:pt x="0" y="4"/>
                        <a:pt x="4" y="0"/>
                        <a:pt x="8" y="0"/>
                      </a:cubicBezTo>
                      <a:cubicBezTo>
                        <a:pt x="16" y="0"/>
                        <a:pt x="16" y="0"/>
                        <a:pt x="16" y="0"/>
                      </a:cubicBezTo>
                      <a:cubicBezTo>
                        <a:pt x="20" y="0"/>
                        <a:pt x="23" y="4"/>
                        <a:pt x="23" y="9"/>
                      </a:cubicBezTo>
                      <a:cubicBezTo>
                        <a:pt x="23" y="15"/>
                        <a:pt x="23" y="15"/>
                        <a:pt x="23" y="15"/>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5" name="Freeform 518">
                  <a:extLst>
                    <a:ext uri="{FF2B5EF4-FFF2-40B4-BE49-F238E27FC236}">
                      <a16:creationId xmlns:a16="http://schemas.microsoft.com/office/drawing/2014/main" id="{61009BFC-7A53-40EB-B066-EC3DC5208D4B}"/>
                    </a:ext>
                  </a:extLst>
                </p:cNvPr>
                <p:cNvSpPr>
                  <a:spLocks/>
                </p:cNvSpPr>
                <p:nvPr/>
              </p:nvSpPr>
              <p:spPr bwMode="auto">
                <a:xfrm>
                  <a:off x="1262063" y="3951288"/>
                  <a:ext cx="42863" cy="176213"/>
                </a:xfrm>
                <a:custGeom>
                  <a:avLst/>
                  <a:gdLst/>
                  <a:ahLst/>
                  <a:cxnLst>
                    <a:cxn ang="0">
                      <a:pos x="22" y="33"/>
                    </a:cxn>
                    <a:cxn ang="0">
                      <a:pos x="22" y="33"/>
                    </a:cxn>
                    <a:cxn ang="0">
                      <a:pos x="22" y="82"/>
                    </a:cxn>
                    <a:cxn ang="0">
                      <a:pos x="16" y="91"/>
                    </a:cxn>
                    <a:cxn ang="0">
                      <a:pos x="7" y="91"/>
                    </a:cxn>
                    <a:cxn ang="0">
                      <a:pos x="0" y="82"/>
                    </a:cxn>
                    <a:cxn ang="0">
                      <a:pos x="0" y="9"/>
                    </a:cxn>
                    <a:cxn ang="0">
                      <a:pos x="7" y="0"/>
                    </a:cxn>
                    <a:cxn ang="0">
                      <a:pos x="16" y="0"/>
                    </a:cxn>
                    <a:cxn ang="0">
                      <a:pos x="22" y="9"/>
                    </a:cxn>
                    <a:cxn ang="0">
                      <a:pos x="22" y="15"/>
                    </a:cxn>
                  </a:cxnLst>
                  <a:rect l="0" t="0" r="r" b="b"/>
                  <a:pathLst>
                    <a:path w="22" h="91">
                      <a:moveTo>
                        <a:pt x="22" y="33"/>
                      </a:moveTo>
                      <a:cubicBezTo>
                        <a:pt x="22" y="33"/>
                        <a:pt x="22" y="33"/>
                        <a:pt x="22" y="33"/>
                      </a:cubicBezTo>
                      <a:cubicBezTo>
                        <a:pt x="22" y="82"/>
                        <a:pt x="22" y="82"/>
                        <a:pt x="22" y="82"/>
                      </a:cubicBezTo>
                      <a:cubicBezTo>
                        <a:pt x="22" y="87"/>
                        <a:pt x="19" y="91"/>
                        <a:pt x="16" y="91"/>
                      </a:cubicBezTo>
                      <a:cubicBezTo>
                        <a:pt x="7" y="91"/>
                        <a:pt x="7" y="91"/>
                        <a:pt x="7" y="91"/>
                      </a:cubicBezTo>
                      <a:cubicBezTo>
                        <a:pt x="3" y="91"/>
                        <a:pt x="0" y="87"/>
                        <a:pt x="0" y="82"/>
                      </a:cubicBezTo>
                      <a:cubicBezTo>
                        <a:pt x="0" y="9"/>
                        <a:pt x="0" y="9"/>
                        <a:pt x="0" y="9"/>
                      </a:cubicBezTo>
                      <a:cubicBezTo>
                        <a:pt x="0" y="4"/>
                        <a:pt x="3" y="0"/>
                        <a:pt x="7" y="0"/>
                      </a:cubicBezTo>
                      <a:cubicBezTo>
                        <a:pt x="16" y="0"/>
                        <a:pt x="16" y="0"/>
                        <a:pt x="16" y="0"/>
                      </a:cubicBezTo>
                      <a:cubicBezTo>
                        <a:pt x="19" y="0"/>
                        <a:pt x="22" y="4"/>
                        <a:pt x="22" y="9"/>
                      </a:cubicBezTo>
                      <a:cubicBezTo>
                        <a:pt x="22" y="15"/>
                        <a:pt x="22" y="15"/>
                        <a:pt x="22" y="15"/>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6" name="Freeform 519">
                  <a:extLst>
                    <a:ext uri="{FF2B5EF4-FFF2-40B4-BE49-F238E27FC236}">
                      <a16:creationId xmlns:a16="http://schemas.microsoft.com/office/drawing/2014/main" id="{D355EF27-99B8-4BF9-84B8-B9A9F2FCF0ED}"/>
                    </a:ext>
                  </a:extLst>
                </p:cNvPr>
                <p:cNvSpPr>
                  <a:spLocks/>
                </p:cNvSpPr>
                <p:nvPr/>
              </p:nvSpPr>
              <p:spPr bwMode="auto">
                <a:xfrm>
                  <a:off x="1133476" y="4165600"/>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7" name="Freeform 520">
                  <a:extLst>
                    <a:ext uri="{FF2B5EF4-FFF2-40B4-BE49-F238E27FC236}">
                      <a16:creationId xmlns:a16="http://schemas.microsoft.com/office/drawing/2014/main" id="{26CF3E81-5CF1-44B9-B8F4-8BEFEF846CC8}"/>
                    </a:ext>
                  </a:extLst>
                </p:cNvPr>
                <p:cNvSpPr>
                  <a:spLocks/>
                </p:cNvSpPr>
                <p:nvPr/>
              </p:nvSpPr>
              <p:spPr bwMode="auto">
                <a:xfrm>
                  <a:off x="1133476" y="4187825"/>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108" name="Freeform 521">
                  <a:extLst>
                    <a:ext uri="{FF2B5EF4-FFF2-40B4-BE49-F238E27FC236}">
                      <a16:creationId xmlns:a16="http://schemas.microsoft.com/office/drawing/2014/main" id="{1CEB87CE-7C59-4435-9918-C7B5F4A23DB2}"/>
                    </a:ext>
                  </a:extLst>
                </p:cNvPr>
                <p:cNvSpPr>
                  <a:spLocks/>
                </p:cNvSpPr>
                <p:nvPr/>
              </p:nvSpPr>
              <p:spPr bwMode="auto">
                <a:xfrm>
                  <a:off x="1133476" y="4211638"/>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grpSp>
          <p:grpSp>
            <p:nvGrpSpPr>
              <p:cNvPr id="62" name="Groupe 272">
                <a:extLst>
                  <a:ext uri="{FF2B5EF4-FFF2-40B4-BE49-F238E27FC236}">
                    <a16:creationId xmlns:a16="http://schemas.microsoft.com/office/drawing/2014/main" id="{52F61967-F4F2-4034-99C5-EF06FDA02DB7}"/>
                  </a:ext>
                </a:extLst>
              </p:cNvPr>
              <p:cNvGrpSpPr/>
              <p:nvPr/>
            </p:nvGrpSpPr>
            <p:grpSpPr>
              <a:xfrm>
                <a:off x="1282352" y="4026948"/>
                <a:ext cx="221243" cy="240407"/>
                <a:chOff x="2249488" y="1933576"/>
                <a:chExt cx="314325" cy="374650"/>
              </a:xfrm>
            </p:grpSpPr>
            <p:sp>
              <p:nvSpPr>
                <p:cNvPr id="97" name="Freeform 757">
                  <a:extLst>
                    <a:ext uri="{FF2B5EF4-FFF2-40B4-BE49-F238E27FC236}">
                      <a16:creationId xmlns:a16="http://schemas.microsoft.com/office/drawing/2014/main" id="{FA59C6BF-7A6B-4AC8-BCC7-7D5C46ECD514}"/>
                    </a:ext>
                  </a:extLst>
                </p:cNvPr>
                <p:cNvSpPr>
                  <a:spLocks/>
                </p:cNvSpPr>
                <p:nvPr/>
              </p:nvSpPr>
              <p:spPr bwMode="auto">
                <a:xfrm>
                  <a:off x="2249488" y="1933576"/>
                  <a:ext cx="280988" cy="279400"/>
                </a:xfrm>
                <a:custGeom>
                  <a:avLst/>
                  <a:gdLst/>
                  <a:ahLst/>
                  <a:cxnLst>
                    <a:cxn ang="0">
                      <a:pos x="107" y="19"/>
                    </a:cxn>
                    <a:cxn ang="0">
                      <a:pos x="107" y="19"/>
                    </a:cxn>
                    <a:cxn ang="0">
                      <a:pos x="124" y="61"/>
                    </a:cxn>
                    <a:cxn ang="0">
                      <a:pos x="62" y="123"/>
                    </a:cxn>
                    <a:cxn ang="0">
                      <a:pos x="0" y="61"/>
                    </a:cxn>
                    <a:cxn ang="0">
                      <a:pos x="62" y="0"/>
                    </a:cxn>
                    <a:cxn ang="0">
                      <a:pos x="85" y="4"/>
                    </a:cxn>
                  </a:cxnLst>
                  <a:rect l="0" t="0" r="r" b="b"/>
                  <a:pathLst>
                    <a:path w="124" h="123">
                      <a:moveTo>
                        <a:pt x="107" y="19"/>
                      </a:moveTo>
                      <a:cubicBezTo>
                        <a:pt x="107" y="19"/>
                        <a:pt x="107" y="19"/>
                        <a:pt x="107" y="19"/>
                      </a:cubicBezTo>
                      <a:cubicBezTo>
                        <a:pt x="117" y="31"/>
                        <a:pt x="124" y="45"/>
                        <a:pt x="124" y="61"/>
                      </a:cubicBezTo>
                      <a:cubicBezTo>
                        <a:pt x="124" y="95"/>
                        <a:pt x="96" y="123"/>
                        <a:pt x="62" y="123"/>
                      </a:cubicBezTo>
                      <a:cubicBezTo>
                        <a:pt x="28" y="123"/>
                        <a:pt x="0" y="95"/>
                        <a:pt x="0" y="61"/>
                      </a:cubicBezTo>
                      <a:cubicBezTo>
                        <a:pt x="0" y="27"/>
                        <a:pt x="28" y="0"/>
                        <a:pt x="62" y="0"/>
                      </a:cubicBezTo>
                      <a:cubicBezTo>
                        <a:pt x="70" y="0"/>
                        <a:pt x="78" y="1"/>
                        <a:pt x="85" y="4"/>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98" name="Freeform 758">
                  <a:extLst>
                    <a:ext uri="{FF2B5EF4-FFF2-40B4-BE49-F238E27FC236}">
                      <a16:creationId xmlns:a16="http://schemas.microsoft.com/office/drawing/2014/main" id="{116D87A5-A99D-4E03-90D4-59FFFD07D6E6}"/>
                    </a:ext>
                  </a:extLst>
                </p:cNvPr>
                <p:cNvSpPr>
                  <a:spLocks/>
                </p:cNvSpPr>
                <p:nvPr/>
              </p:nvSpPr>
              <p:spPr bwMode="auto">
                <a:xfrm>
                  <a:off x="2482850" y="2197101"/>
                  <a:ext cx="80963" cy="111125"/>
                </a:xfrm>
                <a:custGeom>
                  <a:avLst/>
                  <a:gdLst/>
                  <a:ahLst/>
                  <a:cxnLst>
                    <a:cxn ang="0">
                      <a:pos x="0" y="0"/>
                    </a:cxn>
                    <a:cxn ang="0">
                      <a:pos x="0" y="0"/>
                    </a:cxn>
                    <a:cxn ang="0">
                      <a:pos x="51" y="70"/>
                    </a:cxn>
                  </a:cxnLst>
                  <a:rect l="0" t="0" r="r" b="b"/>
                  <a:pathLst>
                    <a:path w="51" h="70">
                      <a:moveTo>
                        <a:pt x="0" y="0"/>
                      </a:moveTo>
                      <a:lnTo>
                        <a:pt x="0" y="0"/>
                      </a:lnTo>
                      <a:lnTo>
                        <a:pt x="51" y="70"/>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sp>
              <p:nvSpPr>
                <p:cNvPr id="99" name="Freeform 759">
                  <a:extLst>
                    <a:ext uri="{FF2B5EF4-FFF2-40B4-BE49-F238E27FC236}">
                      <a16:creationId xmlns:a16="http://schemas.microsoft.com/office/drawing/2014/main" id="{91C2E6EB-1B0F-4B20-8718-86ED27857652}"/>
                    </a:ext>
                  </a:extLst>
                </p:cNvPr>
                <p:cNvSpPr>
                  <a:spLocks/>
                </p:cNvSpPr>
                <p:nvPr/>
              </p:nvSpPr>
              <p:spPr bwMode="auto">
                <a:xfrm>
                  <a:off x="2276475" y="1960563"/>
                  <a:ext cx="223838" cy="225425"/>
                </a:xfrm>
                <a:custGeom>
                  <a:avLst/>
                  <a:gdLst/>
                  <a:ahLst/>
                  <a:cxnLst>
                    <a:cxn ang="0">
                      <a:pos x="0" y="49"/>
                    </a:cxn>
                    <a:cxn ang="0">
                      <a:pos x="50" y="0"/>
                    </a:cxn>
                    <a:cxn ang="0">
                      <a:pos x="50" y="0"/>
                    </a:cxn>
                    <a:cxn ang="0">
                      <a:pos x="50" y="0"/>
                    </a:cxn>
                    <a:cxn ang="0">
                      <a:pos x="99" y="49"/>
                    </a:cxn>
                    <a:cxn ang="0">
                      <a:pos x="99" y="49"/>
                    </a:cxn>
                    <a:cxn ang="0">
                      <a:pos x="99" y="49"/>
                    </a:cxn>
                    <a:cxn ang="0">
                      <a:pos x="50" y="99"/>
                    </a:cxn>
                    <a:cxn ang="0">
                      <a:pos x="50" y="99"/>
                    </a:cxn>
                    <a:cxn ang="0">
                      <a:pos x="50" y="99"/>
                    </a:cxn>
                    <a:cxn ang="0">
                      <a:pos x="0" y="49"/>
                    </a:cxn>
                    <a:cxn ang="0">
                      <a:pos x="0" y="49"/>
                    </a:cxn>
                  </a:cxnLst>
                  <a:rect l="0" t="0" r="r" b="b"/>
                  <a:pathLst>
                    <a:path w="99" h="99">
                      <a:moveTo>
                        <a:pt x="0" y="49"/>
                      </a:moveTo>
                      <a:cubicBezTo>
                        <a:pt x="0" y="22"/>
                        <a:pt x="23" y="0"/>
                        <a:pt x="50" y="0"/>
                      </a:cubicBezTo>
                      <a:cubicBezTo>
                        <a:pt x="50" y="0"/>
                        <a:pt x="50" y="0"/>
                        <a:pt x="50" y="0"/>
                      </a:cubicBezTo>
                      <a:cubicBezTo>
                        <a:pt x="50" y="0"/>
                        <a:pt x="50" y="0"/>
                        <a:pt x="50" y="0"/>
                      </a:cubicBezTo>
                      <a:cubicBezTo>
                        <a:pt x="77" y="0"/>
                        <a:pt x="99" y="22"/>
                        <a:pt x="99" y="49"/>
                      </a:cubicBezTo>
                      <a:cubicBezTo>
                        <a:pt x="99" y="49"/>
                        <a:pt x="99" y="49"/>
                        <a:pt x="99" y="49"/>
                      </a:cubicBezTo>
                      <a:cubicBezTo>
                        <a:pt x="99" y="49"/>
                        <a:pt x="99" y="49"/>
                        <a:pt x="99" y="49"/>
                      </a:cubicBezTo>
                      <a:cubicBezTo>
                        <a:pt x="99" y="77"/>
                        <a:pt x="77" y="99"/>
                        <a:pt x="50" y="99"/>
                      </a:cubicBezTo>
                      <a:cubicBezTo>
                        <a:pt x="50" y="99"/>
                        <a:pt x="50" y="99"/>
                        <a:pt x="50" y="99"/>
                      </a:cubicBezTo>
                      <a:cubicBezTo>
                        <a:pt x="50" y="99"/>
                        <a:pt x="50" y="99"/>
                        <a:pt x="50" y="99"/>
                      </a:cubicBezTo>
                      <a:cubicBezTo>
                        <a:pt x="23" y="99"/>
                        <a:pt x="0" y="77"/>
                        <a:pt x="0" y="49"/>
                      </a:cubicBezTo>
                      <a:cubicBezTo>
                        <a:pt x="0" y="49"/>
                        <a:pt x="0" y="49"/>
                        <a:pt x="0" y="49"/>
                      </a:cubicBezTo>
                      <a:close/>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p>
              </p:txBody>
            </p:sp>
          </p:grpSp>
          <p:sp>
            <p:nvSpPr>
              <p:cNvPr id="63" name="TextBox 59">
                <a:extLst>
                  <a:ext uri="{FF2B5EF4-FFF2-40B4-BE49-F238E27FC236}">
                    <a16:creationId xmlns:a16="http://schemas.microsoft.com/office/drawing/2014/main" id="{F17F7126-4743-4118-A476-7F25FECF9D1F}"/>
                  </a:ext>
                </a:extLst>
              </p:cNvPr>
              <p:cNvSpPr txBox="1"/>
              <p:nvPr/>
            </p:nvSpPr>
            <p:spPr bwMode="auto">
              <a:xfrm>
                <a:off x="1261646" y="4071765"/>
                <a:ext cx="233298" cy="95861"/>
              </a:xfrm>
              <a:prstGeom prst="rect">
                <a:avLst/>
              </a:prstGeom>
              <a:noFill/>
              <a:ln w="9525">
                <a:noFill/>
                <a:miter lim="800000"/>
                <a:headEnd/>
                <a:tailEnd/>
              </a:ln>
            </p:spPr>
            <p:txBody>
              <a:bodyPr wrap="none" lIns="0" tIns="0" rIns="0" bIns="0" rtlCol="0" anchor="ctr">
                <a:spAutoFit/>
              </a:bodyPr>
              <a:lstStyle/>
              <a:p>
                <a:pPr algn="ctr"/>
                <a:r>
                  <a:rPr lang="en-GB" sz="616" dirty="0">
                    <a:solidFill>
                      <a:schemeClr val="tx1">
                        <a:lumMod val="85000"/>
                        <a:lumOff val="15000"/>
                      </a:schemeClr>
                    </a:solidFill>
                    <a:latin typeface="Calibri" pitchFamily="34" charset="0"/>
                    <a:cs typeface="Calibri" pitchFamily="34" charset="0"/>
                  </a:rPr>
                  <a:t>Re</a:t>
                </a:r>
                <a:r>
                  <a:rPr lang="en-GB" sz="861" dirty="0">
                    <a:solidFill>
                      <a:schemeClr val="tx1">
                        <a:lumMod val="85000"/>
                        <a:lumOff val="15000"/>
                      </a:schemeClr>
                    </a:solidFill>
                    <a:latin typeface="Calibri" pitchFamily="34" charset="0"/>
                    <a:cs typeface="Calibri" pitchFamily="34" charset="0"/>
                  </a:rPr>
                  <a:t>ligio</a:t>
                </a:r>
                <a:r>
                  <a:rPr lang="en-GB" sz="616" dirty="0">
                    <a:solidFill>
                      <a:schemeClr val="tx1">
                        <a:lumMod val="85000"/>
                        <a:lumOff val="15000"/>
                      </a:schemeClr>
                    </a:solidFill>
                    <a:latin typeface="Calibri" pitchFamily="34" charset="0"/>
                    <a:cs typeface="Calibri" pitchFamily="34" charset="0"/>
                  </a:rPr>
                  <a:t>n</a:t>
                </a:r>
              </a:p>
            </p:txBody>
          </p:sp>
          <p:grpSp>
            <p:nvGrpSpPr>
              <p:cNvPr id="64" name="Groupe 562">
                <a:extLst>
                  <a:ext uri="{FF2B5EF4-FFF2-40B4-BE49-F238E27FC236}">
                    <a16:creationId xmlns:a16="http://schemas.microsoft.com/office/drawing/2014/main" id="{6B4C5720-249B-4982-BBA8-90C8DCA599FD}"/>
                  </a:ext>
                </a:extLst>
              </p:cNvPr>
              <p:cNvGrpSpPr/>
              <p:nvPr/>
            </p:nvGrpSpPr>
            <p:grpSpPr>
              <a:xfrm>
                <a:off x="2012774" y="5226840"/>
                <a:ext cx="264821" cy="185399"/>
                <a:chOff x="393701" y="2703513"/>
                <a:chExt cx="376238" cy="288925"/>
              </a:xfrm>
            </p:grpSpPr>
            <p:sp>
              <p:nvSpPr>
                <p:cNvPr id="89" name="Freeform 167">
                  <a:extLst>
                    <a:ext uri="{FF2B5EF4-FFF2-40B4-BE49-F238E27FC236}">
                      <a16:creationId xmlns:a16="http://schemas.microsoft.com/office/drawing/2014/main" id="{56BB9DF5-F38D-4469-92B4-30672AD15C35}"/>
                    </a:ext>
                  </a:extLst>
                </p:cNvPr>
                <p:cNvSpPr>
                  <a:spLocks/>
                </p:cNvSpPr>
                <p:nvPr/>
              </p:nvSpPr>
              <p:spPr bwMode="auto">
                <a:xfrm>
                  <a:off x="393701" y="2751138"/>
                  <a:ext cx="314325" cy="190500"/>
                </a:xfrm>
                <a:custGeom>
                  <a:avLst/>
                  <a:gdLst/>
                  <a:ahLst/>
                  <a:cxnLst>
                    <a:cxn ang="0">
                      <a:pos x="0" y="99"/>
                    </a:cxn>
                    <a:cxn ang="0">
                      <a:pos x="0" y="0"/>
                    </a:cxn>
                    <a:cxn ang="0">
                      <a:pos x="162" y="0"/>
                    </a:cxn>
                    <a:cxn ang="0">
                      <a:pos x="162" y="99"/>
                    </a:cxn>
                    <a:cxn ang="0">
                      <a:pos x="17" y="99"/>
                    </a:cxn>
                  </a:cxnLst>
                  <a:rect l="0" t="0" r="r" b="b"/>
                  <a:pathLst>
                    <a:path w="162" h="99">
                      <a:moveTo>
                        <a:pt x="0" y="99"/>
                      </a:moveTo>
                      <a:cubicBezTo>
                        <a:pt x="0" y="66"/>
                        <a:pt x="0" y="32"/>
                        <a:pt x="0" y="0"/>
                      </a:cubicBezTo>
                      <a:cubicBezTo>
                        <a:pt x="162" y="0"/>
                        <a:pt x="162" y="0"/>
                        <a:pt x="162" y="0"/>
                      </a:cubicBezTo>
                      <a:cubicBezTo>
                        <a:pt x="162" y="99"/>
                        <a:pt x="162" y="99"/>
                        <a:pt x="162" y="99"/>
                      </a:cubicBezTo>
                      <a:cubicBezTo>
                        <a:pt x="17" y="99"/>
                        <a:pt x="17" y="99"/>
                        <a:pt x="17" y="99"/>
                      </a:cubicBez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0" name="Freeform 168">
                  <a:extLst>
                    <a:ext uri="{FF2B5EF4-FFF2-40B4-BE49-F238E27FC236}">
                      <a16:creationId xmlns:a16="http://schemas.microsoft.com/office/drawing/2014/main" id="{C1661A02-AF97-4B78-8612-E002461FD55B}"/>
                    </a:ext>
                  </a:extLst>
                </p:cNvPr>
                <p:cNvSpPr>
                  <a:spLocks/>
                </p:cNvSpPr>
                <p:nvPr/>
              </p:nvSpPr>
              <p:spPr bwMode="auto">
                <a:xfrm>
                  <a:off x="479426" y="2703513"/>
                  <a:ext cx="82550" cy="22225"/>
                </a:xfrm>
                <a:custGeom>
                  <a:avLst/>
                  <a:gdLst/>
                  <a:ahLst/>
                  <a:cxnLst>
                    <a:cxn ang="0">
                      <a:pos x="0" y="14"/>
                    </a:cxn>
                    <a:cxn ang="0">
                      <a:pos x="2" y="0"/>
                    </a:cxn>
                    <a:cxn ang="0">
                      <a:pos x="52" y="14"/>
                    </a:cxn>
                  </a:cxnLst>
                  <a:rect l="0" t="0" r="r" b="b"/>
                  <a:pathLst>
                    <a:path w="52" h="14">
                      <a:moveTo>
                        <a:pt x="0" y="14"/>
                      </a:moveTo>
                      <a:lnTo>
                        <a:pt x="2" y="0"/>
                      </a:lnTo>
                      <a:lnTo>
                        <a:pt x="52" y="14"/>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1" name="Freeform 169">
                  <a:extLst>
                    <a:ext uri="{FF2B5EF4-FFF2-40B4-BE49-F238E27FC236}">
                      <a16:creationId xmlns:a16="http://schemas.microsoft.com/office/drawing/2014/main" id="{6F430086-82AA-4730-A1A5-A49957D4E0D0}"/>
                    </a:ext>
                  </a:extLst>
                </p:cNvPr>
                <p:cNvSpPr>
                  <a:spLocks/>
                </p:cNvSpPr>
                <p:nvPr/>
              </p:nvSpPr>
              <p:spPr bwMode="auto">
                <a:xfrm>
                  <a:off x="604839" y="2798763"/>
                  <a:ext cx="165100" cy="193675"/>
                </a:xfrm>
                <a:custGeom>
                  <a:avLst/>
                  <a:gdLst/>
                  <a:ahLst/>
                  <a:cxnLst>
                    <a:cxn ang="0">
                      <a:pos x="80" y="0"/>
                    </a:cxn>
                    <a:cxn ang="0">
                      <a:pos x="104" y="6"/>
                    </a:cxn>
                    <a:cxn ang="0">
                      <a:pos x="76" y="122"/>
                    </a:cxn>
                    <a:cxn ang="0">
                      <a:pos x="0" y="103"/>
                    </a:cxn>
                  </a:cxnLst>
                  <a:rect l="0" t="0" r="r" b="b"/>
                  <a:pathLst>
                    <a:path w="104" h="122">
                      <a:moveTo>
                        <a:pt x="80" y="0"/>
                      </a:moveTo>
                      <a:lnTo>
                        <a:pt x="104" y="6"/>
                      </a:lnTo>
                      <a:lnTo>
                        <a:pt x="76" y="122"/>
                      </a:lnTo>
                      <a:lnTo>
                        <a:pt x="0" y="103"/>
                      </a:lnTo>
                    </a:path>
                  </a:pathLst>
                </a:cu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2" name="Line 170">
                  <a:extLst>
                    <a:ext uri="{FF2B5EF4-FFF2-40B4-BE49-F238E27FC236}">
                      <a16:creationId xmlns:a16="http://schemas.microsoft.com/office/drawing/2014/main" id="{895B860C-9874-4F1C-823B-1600BF8F30F7}"/>
                    </a:ext>
                  </a:extLst>
                </p:cNvPr>
                <p:cNvSpPr>
                  <a:spLocks noChangeShapeType="1"/>
                </p:cNvSpPr>
                <p:nvPr/>
              </p:nvSpPr>
              <p:spPr bwMode="auto">
                <a:xfrm>
                  <a:off x="587376" y="2886076"/>
                  <a:ext cx="30163"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3" name="Line 171">
                  <a:extLst>
                    <a:ext uri="{FF2B5EF4-FFF2-40B4-BE49-F238E27FC236}">
                      <a16:creationId xmlns:a16="http://schemas.microsoft.com/office/drawing/2014/main" id="{AC66DE40-4695-43F2-9FF9-19256FBF4F59}"/>
                    </a:ext>
                  </a:extLst>
                </p:cNvPr>
                <p:cNvSpPr>
                  <a:spLocks noChangeShapeType="1"/>
                </p:cNvSpPr>
                <p:nvPr/>
              </p:nvSpPr>
              <p:spPr bwMode="auto">
                <a:xfrm>
                  <a:off x="444501" y="2801938"/>
                  <a:ext cx="228600"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4" name="Line 172">
                  <a:extLst>
                    <a:ext uri="{FF2B5EF4-FFF2-40B4-BE49-F238E27FC236}">
                      <a16:creationId xmlns:a16="http://schemas.microsoft.com/office/drawing/2014/main" id="{430CAB8D-BD91-4D7F-B63C-2CF402DF5002}"/>
                    </a:ext>
                  </a:extLst>
                </p:cNvPr>
                <p:cNvSpPr>
                  <a:spLocks noChangeShapeType="1"/>
                </p:cNvSpPr>
                <p:nvPr/>
              </p:nvSpPr>
              <p:spPr bwMode="auto">
                <a:xfrm>
                  <a:off x="444501" y="2825751"/>
                  <a:ext cx="142875"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5" name="Line 173">
                  <a:extLst>
                    <a:ext uri="{FF2B5EF4-FFF2-40B4-BE49-F238E27FC236}">
                      <a16:creationId xmlns:a16="http://schemas.microsoft.com/office/drawing/2014/main" id="{2989123F-E887-4CD6-8FBD-53EEB7B0015F}"/>
                    </a:ext>
                  </a:extLst>
                </p:cNvPr>
                <p:cNvSpPr>
                  <a:spLocks noChangeShapeType="1"/>
                </p:cNvSpPr>
                <p:nvPr/>
              </p:nvSpPr>
              <p:spPr bwMode="auto">
                <a:xfrm>
                  <a:off x="587376" y="2919413"/>
                  <a:ext cx="57150"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sp>
              <p:nvSpPr>
                <p:cNvPr id="96" name="Line 174">
                  <a:extLst>
                    <a:ext uri="{FF2B5EF4-FFF2-40B4-BE49-F238E27FC236}">
                      <a16:creationId xmlns:a16="http://schemas.microsoft.com/office/drawing/2014/main" id="{6AC503CE-2CDB-4EDF-AC17-B62C85D4E9D7}"/>
                    </a:ext>
                  </a:extLst>
                </p:cNvPr>
                <p:cNvSpPr>
                  <a:spLocks noChangeShapeType="1"/>
                </p:cNvSpPr>
                <p:nvPr/>
              </p:nvSpPr>
              <p:spPr bwMode="auto">
                <a:xfrm>
                  <a:off x="587376" y="2901951"/>
                  <a:ext cx="57150" cy="1588"/>
                </a:xfrm>
                <a:prstGeom prst="line">
                  <a:avLst/>
                </a:prstGeom>
                <a:noFill/>
                <a:ln w="12700" cap="rnd">
                  <a:solidFill>
                    <a:schemeClr val="accent5">
                      <a:lumMod val="50000"/>
                    </a:schemeClr>
                  </a:solidFill>
                  <a:prstDash val="solid"/>
                  <a:round/>
                  <a:headEnd/>
                  <a:tailEnd/>
                </a:ln>
              </p:spPr>
              <p:txBody>
                <a:bodyPr vert="horz" wrap="square" lIns="112512" tIns="56256" rIns="112512" bIns="56256" numCol="1" anchor="t" anchorCtr="0" compatLnSpc="1">
                  <a:prstTxWarp prst="textNoShape">
                    <a:avLst/>
                  </a:prstTxWarp>
                </a:bodyPr>
                <a:lstStyle/>
                <a:p>
                  <a:endParaRPr lang="en-GB" sz="616" dirty="0">
                    <a:latin typeface="Arial" pitchFamily="34" charset="0"/>
                    <a:cs typeface="Arial" pitchFamily="34" charset="0"/>
                  </a:endParaRPr>
                </a:p>
              </p:txBody>
            </p:sp>
          </p:grpSp>
          <p:sp>
            <p:nvSpPr>
              <p:cNvPr id="65" name="Donut 61">
                <a:extLst>
                  <a:ext uri="{FF2B5EF4-FFF2-40B4-BE49-F238E27FC236}">
                    <a16:creationId xmlns:a16="http://schemas.microsoft.com/office/drawing/2014/main" id="{0911B6A5-9876-4F83-A936-FB329CB3CB55}"/>
                  </a:ext>
                </a:extLst>
              </p:cNvPr>
              <p:cNvSpPr/>
              <p:nvPr/>
            </p:nvSpPr>
            <p:spPr>
              <a:xfrm>
                <a:off x="1903349" y="5098937"/>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sp>
            <p:nvSpPr>
              <p:cNvPr id="66" name="Donut 62">
                <a:extLst>
                  <a:ext uri="{FF2B5EF4-FFF2-40B4-BE49-F238E27FC236}">
                    <a16:creationId xmlns:a16="http://schemas.microsoft.com/office/drawing/2014/main" id="{7921F5D1-7CAB-4F64-82A0-D8C5339B7CB7}"/>
                  </a:ext>
                </a:extLst>
              </p:cNvPr>
              <p:cNvSpPr/>
              <p:nvPr/>
            </p:nvSpPr>
            <p:spPr>
              <a:xfrm>
                <a:off x="2715164" y="5098937"/>
                <a:ext cx="483671" cy="441201"/>
              </a:xfrm>
              <a:prstGeom prst="donut">
                <a:avLst>
                  <a:gd name="adj" fmla="val 11023"/>
                </a:avLst>
              </a:prstGeom>
              <a:solidFill>
                <a:schemeClr val="bg1">
                  <a:lumMod val="85000"/>
                </a:schemeClr>
              </a:solidFill>
              <a:ln>
                <a:solidFill>
                  <a:schemeClr val="bg2">
                    <a:lumMod val="20000"/>
                    <a:lumOff val="80000"/>
                  </a:schemeClr>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GB" sz="1969" dirty="0">
                  <a:solidFill>
                    <a:schemeClr val="tx1">
                      <a:lumMod val="75000"/>
                      <a:lumOff val="25000"/>
                    </a:schemeClr>
                  </a:solidFill>
                  <a:latin typeface="Calibri" pitchFamily="34" charset="0"/>
                  <a:cs typeface="Calibri" pitchFamily="34" charset="0"/>
                </a:endParaRPr>
              </a:p>
            </p:txBody>
          </p:sp>
          <p:grpSp>
            <p:nvGrpSpPr>
              <p:cNvPr id="67" name="Group 84">
                <a:extLst>
                  <a:ext uri="{FF2B5EF4-FFF2-40B4-BE49-F238E27FC236}">
                    <a16:creationId xmlns:a16="http://schemas.microsoft.com/office/drawing/2014/main" id="{67D9C22F-74A3-403E-8460-EB1EF3D136C9}"/>
                  </a:ext>
                </a:extLst>
              </p:cNvPr>
              <p:cNvGrpSpPr/>
              <p:nvPr/>
            </p:nvGrpSpPr>
            <p:grpSpPr>
              <a:xfrm>
                <a:off x="2822457" y="5208692"/>
                <a:ext cx="271696" cy="232856"/>
                <a:chOff x="7517937" y="5095914"/>
                <a:chExt cx="386005" cy="362882"/>
              </a:xfrm>
            </p:grpSpPr>
            <p:sp>
              <p:nvSpPr>
                <p:cNvPr id="78" name="Freeform 74">
                  <a:extLst>
                    <a:ext uri="{FF2B5EF4-FFF2-40B4-BE49-F238E27FC236}">
                      <a16:creationId xmlns:a16="http://schemas.microsoft.com/office/drawing/2014/main" id="{FC5AF3EA-7F12-4F42-B10A-0FDFF59152CF}"/>
                    </a:ext>
                  </a:extLst>
                </p:cNvPr>
                <p:cNvSpPr/>
                <p:nvPr>
                  <p:custDataLst>
                    <p:tags r:id="rId1"/>
                  </p:custDataLst>
                </p:nvPr>
              </p:nvSpPr>
              <p:spPr>
                <a:xfrm>
                  <a:off x="7707912" y="5312144"/>
                  <a:ext cx="90140" cy="146652"/>
                </a:xfrm>
                <a:custGeom>
                  <a:avLst/>
                  <a:gdLst>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9100 w 1592580"/>
                    <a:gd name="connsiteY6" fmla="*/ 419100 h 2834640"/>
                    <a:gd name="connsiteX7" fmla="*/ 114300 w 1592580"/>
                    <a:gd name="connsiteY7" fmla="*/ 0 h 2834640"/>
                    <a:gd name="connsiteX8" fmla="*/ 0 w 1592580"/>
                    <a:gd name="connsiteY8" fmla="*/ 45720 h 2834640"/>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2130 w 1592580"/>
                    <a:gd name="connsiteY6" fmla="*/ 441548 h 2834640"/>
                    <a:gd name="connsiteX7" fmla="*/ 114300 w 1592580"/>
                    <a:gd name="connsiteY7" fmla="*/ 0 h 2834640"/>
                    <a:gd name="connsiteX8" fmla="*/ 0 w 1592580"/>
                    <a:gd name="connsiteY8" fmla="*/ 45720 h 2834640"/>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2130 w 1592580"/>
                    <a:gd name="connsiteY6" fmla="*/ 441548 h 2834640"/>
                    <a:gd name="connsiteX7" fmla="*/ 114300 w 1592580"/>
                    <a:gd name="connsiteY7" fmla="*/ 0 h 2834640"/>
                    <a:gd name="connsiteX8" fmla="*/ 0 w 1592580"/>
                    <a:gd name="connsiteY8" fmla="*/ 45720 h 2834640"/>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617916"/>
                    <a:gd name="connsiteY0" fmla="*/ 45720 h 2865884"/>
                    <a:gd name="connsiteX1" fmla="*/ 182880 w 1617916"/>
                    <a:gd name="connsiteY1" fmla="*/ 525780 h 2865884"/>
                    <a:gd name="connsiteX2" fmla="*/ 236220 w 1617916"/>
                    <a:gd name="connsiteY2" fmla="*/ 548640 h 2865884"/>
                    <a:gd name="connsiteX3" fmla="*/ 1524000 w 1617916"/>
                    <a:gd name="connsiteY3" fmla="*/ 2834640 h 2865884"/>
                    <a:gd name="connsiteX4" fmla="*/ 1592580 w 1617916"/>
                    <a:gd name="connsiteY4" fmla="*/ 2788920 h 2865884"/>
                    <a:gd name="connsiteX5" fmla="*/ 388620 w 1617916"/>
                    <a:gd name="connsiteY5" fmla="*/ 464820 h 2865884"/>
                    <a:gd name="connsiteX6" fmla="*/ 412130 w 1617916"/>
                    <a:gd name="connsiteY6" fmla="*/ 441548 h 2865884"/>
                    <a:gd name="connsiteX7" fmla="*/ 114300 w 1617916"/>
                    <a:gd name="connsiteY7" fmla="*/ 0 h 2865884"/>
                    <a:gd name="connsiteX8" fmla="*/ 0 w 1617916"/>
                    <a:gd name="connsiteY8" fmla="*/ 45720 h 2865884"/>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1524000 w 1599437"/>
                    <a:gd name="connsiteY3" fmla="*/ 2834640 h 2865884"/>
                    <a:gd name="connsiteX4" fmla="*/ 1592580 w 1599437"/>
                    <a:gd name="connsiteY4" fmla="*/ 2788920 h 2865884"/>
                    <a:gd name="connsiteX5" fmla="*/ 388620 w 1599437"/>
                    <a:gd name="connsiteY5" fmla="*/ 464820 h 2865884"/>
                    <a:gd name="connsiteX6" fmla="*/ 412130 w 1599437"/>
                    <a:gd name="connsiteY6" fmla="*/ 441548 h 2865884"/>
                    <a:gd name="connsiteX7" fmla="*/ 114300 w 1599437"/>
                    <a:gd name="connsiteY7" fmla="*/ 0 h 2865884"/>
                    <a:gd name="connsiteX8" fmla="*/ 0 w 1599437"/>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1524000 w 1599437"/>
                    <a:gd name="connsiteY3" fmla="*/ 2834640 h 2865884"/>
                    <a:gd name="connsiteX4" fmla="*/ 1592580 w 1599437"/>
                    <a:gd name="connsiteY4" fmla="*/ 2788920 h 2865884"/>
                    <a:gd name="connsiteX5" fmla="*/ 388620 w 1599437"/>
                    <a:gd name="connsiteY5" fmla="*/ 464820 h 2865884"/>
                    <a:gd name="connsiteX6" fmla="*/ 412130 w 1599437"/>
                    <a:gd name="connsiteY6" fmla="*/ 441548 h 2865884"/>
                    <a:gd name="connsiteX7" fmla="*/ 114300 w 1599437"/>
                    <a:gd name="connsiteY7" fmla="*/ 0 h 2865884"/>
                    <a:gd name="connsiteX8" fmla="*/ 0 w 1599437"/>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839209 w 1599437"/>
                    <a:gd name="connsiteY3" fmla="*/ 1710686 h 2865884"/>
                    <a:gd name="connsiteX4" fmla="*/ 1524000 w 1599437"/>
                    <a:gd name="connsiteY4" fmla="*/ 2834640 h 2865884"/>
                    <a:gd name="connsiteX5" fmla="*/ 1592580 w 1599437"/>
                    <a:gd name="connsiteY5" fmla="*/ 2788920 h 2865884"/>
                    <a:gd name="connsiteX6" fmla="*/ 388620 w 1599437"/>
                    <a:gd name="connsiteY6" fmla="*/ 464820 h 2865884"/>
                    <a:gd name="connsiteX7" fmla="*/ 412130 w 1599437"/>
                    <a:gd name="connsiteY7" fmla="*/ 441548 h 2865884"/>
                    <a:gd name="connsiteX8" fmla="*/ 114300 w 1599437"/>
                    <a:gd name="connsiteY8" fmla="*/ 0 h 2865884"/>
                    <a:gd name="connsiteX9" fmla="*/ 0 w 1599437"/>
                    <a:gd name="connsiteY9"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839209 w 1599437"/>
                    <a:gd name="connsiteY3" fmla="*/ 1710686 h 2865884"/>
                    <a:gd name="connsiteX4" fmla="*/ 1524000 w 1599437"/>
                    <a:gd name="connsiteY4" fmla="*/ 2834640 h 2865884"/>
                    <a:gd name="connsiteX5" fmla="*/ 1592580 w 1599437"/>
                    <a:gd name="connsiteY5" fmla="*/ 2788920 h 2865884"/>
                    <a:gd name="connsiteX6" fmla="*/ 1036074 w 1599437"/>
                    <a:gd name="connsiteY6" fmla="*/ 1676449 h 2865884"/>
                    <a:gd name="connsiteX7" fmla="*/ 388620 w 1599437"/>
                    <a:gd name="connsiteY7" fmla="*/ 464820 h 2865884"/>
                    <a:gd name="connsiteX8" fmla="*/ 412130 w 1599437"/>
                    <a:gd name="connsiteY8" fmla="*/ 441548 h 2865884"/>
                    <a:gd name="connsiteX9" fmla="*/ 114300 w 1599437"/>
                    <a:gd name="connsiteY9" fmla="*/ 0 h 2865884"/>
                    <a:gd name="connsiteX10" fmla="*/ 0 w 1599437"/>
                    <a:gd name="connsiteY10" fmla="*/ 45720 h 2865884"/>
                    <a:gd name="connsiteX0" fmla="*/ 0 w 1485137"/>
                    <a:gd name="connsiteY0" fmla="*/ 0 h 2865884"/>
                    <a:gd name="connsiteX1" fmla="*/ 68580 w 1485137"/>
                    <a:gd name="connsiteY1" fmla="*/ 525780 h 2865884"/>
                    <a:gd name="connsiteX2" fmla="*/ 121920 w 1485137"/>
                    <a:gd name="connsiteY2" fmla="*/ 548640 h 2865884"/>
                    <a:gd name="connsiteX3" fmla="*/ 724909 w 1485137"/>
                    <a:gd name="connsiteY3" fmla="*/ 1710686 h 2865884"/>
                    <a:gd name="connsiteX4" fmla="*/ 1409700 w 1485137"/>
                    <a:gd name="connsiteY4" fmla="*/ 2834640 h 2865884"/>
                    <a:gd name="connsiteX5" fmla="*/ 1478280 w 1485137"/>
                    <a:gd name="connsiteY5" fmla="*/ 2788920 h 2865884"/>
                    <a:gd name="connsiteX6" fmla="*/ 921774 w 1485137"/>
                    <a:gd name="connsiteY6" fmla="*/ 1676449 h 2865884"/>
                    <a:gd name="connsiteX7" fmla="*/ 274320 w 1485137"/>
                    <a:gd name="connsiteY7" fmla="*/ 464820 h 2865884"/>
                    <a:gd name="connsiteX8" fmla="*/ 297830 w 1485137"/>
                    <a:gd name="connsiteY8" fmla="*/ 441548 h 2865884"/>
                    <a:gd name="connsiteX9" fmla="*/ 0 w 1485137"/>
                    <a:gd name="connsiteY9" fmla="*/ 0 h 2865884"/>
                    <a:gd name="connsiteX0" fmla="*/ 229251 w 1416558"/>
                    <a:gd name="connsiteY0" fmla="*/ 1 h 2424337"/>
                    <a:gd name="connsiteX1" fmla="*/ 1 w 1416558"/>
                    <a:gd name="connsiteY1" fmla="*/ 84233 h 2424337"/>
                    <a:gd name="connsiteX2" fmla="*/ 53341 w 1416558"/>
                    <a:gd name="connsiteY2" fmla="*/ 107093 h 2424337"/>
                    <a:gd name="connsiteX3" fmla="*/ 656330 w 1416558"/>
                    <a:gd name="connsiteY3" fmla="*/ 1269139 h 2424337"/>
                    <a:gd name="connsiteX4" fmla="*/ 1341121 w 1416558"/>
                    <a:gd name="connsiteY4" fmla="*/ 2393093 h 2424337"/>
                    <a:gd name="connsiteX5" fmla="*/ 1409701 w 1416558"/>
                    <a:gd name="connsiteY5" fmla="*/ 2347373 h 2424337"/>
                    <a:gd name="connsiteX6" fmla="*/ 853195 w 1416558"/>
                    <a:gd name="connsiteY6" fmla="*/ 1234902 h 2424337"/>
                    <a:gd name="connsiteX7" fmla="*/ 205741 w 1416558"/>
                    <a:gd name="connsiteY7" fmla="*/ 23273 h 2424337"/>
                    <a:gd name="connsiteX8" fmla="*/ 229251 w 1416558"/>
                    <a:gd name="connsiteY8" fmla="*/ 1 h 2424337"/>
                    <a:gd name="connsiteX0" fmla="*/ 205741 w 1416558"/>
                    <a:gd name="connsiteY0" fmla="*/ -1 h 2401063"/>
                    <a:gd name="connsiteX1" fmla="*/ 1 w 1416558"/>
                    <a:gd name="connsiteY1" fmla="*/ 60959 h 2401063"/>
                    <a:gd name="connsiteX2" fmla="*/ 53341 w 1416558"/>
                    <a:gd name="connsiteY2" fmla="*/ 83819 h 2401063"/>
                    <a:gd name="connsiteX3" fmla="*/ 656330 w 1416558"/>
                    <a:gd name="connsiteY3" fmla="*/ 1245865 h 2401063"/>
                    <a:gd name="connsiteX4" fmla="*/ 1341121 w 1416558"/>
                    <a:gd name="connsiteY4" fmla="*/ 2369819 h 2401063"/>
                    <a:gd name="connsiteX5" fmla="*/ 1409701 w 1416558"/>
                    <a:gd name="connsiteY5" fmla="*/ 2324099 h 2401063"/>
                    <a:gd name="connsiteX6" fmla="*/ 853195 w 1416558"/>
                    <a:gd name="connsiteY6" fmla="*/ 1211628 h 2401063"/>
                    <a:gd name="connsiteX7" fmla="*/ 205741 w 1416558"/>
                    <a:gd name="connsiteY7" fmla="*/ -1 h 2401063"/>
                    <a:gd name="connsiteX0" fmla="*/ 205741 w 1416558"/>
                    <a:gd name="connsiteY0" fmla="*/ -1 h 2401063"/>
                    <a:gd name="connsiteX1" fmla="*/ 1 w 1416558"/>
                    <a:gd name="connsiteY1" fmla="*/ 60959 h 2401063"/>
                    <a:gd name="connsiteX2" fmla="*/ 656330 w 1416558"/>
                    <a:gd name="connsiteY2" fmla="*/ 1245865 h 2401063"/>
                    <a:gd name="connsiteX3" fmla="*/ 1341121 w 1416558"/>
                    <a:gd name="connsiteY3" fmla="*/ 2369819 h 2401063"/>
                    <a:gd name="connsiteX4" fmla="*/ 1409701 w 1416558"/>
                    <a:gd name="connsiteY4" fmla="*/ 2324099 h 2401063"/>
                    <a:gd name="connsiteX5" fmla="*/ 853195 w 1416558"/>
                    <a:gd name="connsiteY5" fmla="*/ 1211628 h 2401063"/>
                    <a:gd name="connsiteX6" fmla="*/ 205741 w 1416558"/>
                    <a:gd name="connsiteY6" fmla="*/ -1 h 2401063"/>
                    <a:gd name="connsiteX0" fmla="*/ 1 w 1210818"/>
                    <a:gd name="connsiteY0" fmla="*/ -1 h 2401063"/>
                    <a:gd name="connsiteX1" fmla="*/ 450590 w 1210818"/>
                    <a:gd name="connsiteY1" fmla="*/ 1245865 h 2401063"/>
                    <a:gd name="connsiteX2" fmla="*/ 1135381 w 1210818"/>
                    <a:gd name="connsiteY2" fmla="*/ 2369819 h 2401063"/>
                    <a:gd name="connsiteX3" fmla="*/ 1203961 w 1210818"/>
                    <a:gd name="connsiteY3" fmla="*/ 2324099 h 2401063"/>
                    <a:gd name="connsiteX4" fmla="*/ 647455 w 1210818"/>
                    <a:gd name="connsiteY4" fmla="*/ 1211628 h 2401063"/>
                    <a:gd name="connsiteX5" fmla="*/ 1 w 1210818"/>
                    <a:gd name="connsiteY5" fmla="*/ -1 h 2401063"/>
                    <a:gd name="connsiteX0" fmla="*/ 278186 w 841549"/>
                    <a:gd name="connsiteY0" fmla="*/ 179705 h 1369140"/>
                    <a:gd name="connsiteX1" fmla="*/ 81321 w 841549"/>
                    <a:gd name="connsiteY1" fmla="*/ 213942 h 1369140"/>
                    <a:gd name="connsiteX2" fmla="*/ 766112 w 841549"/>
                    <a:gd name="connsiteY2" fmla="*/ 1337896 h 1369140"/>
                    <a:gd name="connsiteX3" fmla="*/ 834692 w 841549"/>
                    <a:gd name="connsiteY3" fmla="*/ 1292176 h 1369140"/>
                    <a:gd name="connsiteX4" fmla="*/ 278186 w 841549"/>
                    <a:gd name="connsiteY4" fmla="*/ 179705 h 136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549" h="1369140">
                      <a:moveTo>
                        <a:pt x="278186" y="179705"/>
                      </a:moveTo>
                      <a:cubicBezTo>
                        <a:pt x="152624" y="-1"/>
                        <a:pt x="0" y="20910"/>
                        <a:pt x="81321" y="213942"/>
                      </a:cubicBezTo>
                      <a:cubicBezTo>
                        <a:pt x="295951" y="594942"/>
                        <a:pt x="640550" y="1158190"/>
                        <a:pt x="766112" y="1337896"/>
                      </a:cubicBezTo>
                      <a:cubicBezTo>
                        <a:pt x="834786" y="1369140"/>
                        <a:pt x="841549" y="1342763"/>
                        <a:pt x="834692" y="1292176"/>
                      </a:cubicBezTo>
                      <a:cubicBezTo>
                        <a:pt x="753371" y="1099144"/>
                        <a:pt x="403748" y="359411"/>
                        <a:pt x="278186" y="179705"/>
                      </a:cubicBezTo>
                      <a:close/>
                    </a:path>
                  </a:pathLst>
                </a:custGeom>
                <a:noFill/>
                <a:ln w="127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79" name="Freeform 75">
                  <a:extLst>
                    <a:ext uri="{FF2B5EF4-FFF2-40B4-BE49-F238E27FC236}">
                      <a16:creationId xmlns:a16="http://schemas.microsoft.com/office/drawing/2014/main" id="{FDAB8ED2-7AF1-4C3A-8848-2FB5AC9EFFAE}"/>
                    </a:ext>
                  </a:extLst>
                </p:cNvPr>
                <p:cNvSpPr/>
                <p:nvPr/>
              </p:nvSpPr>
              <p:spPr>
                <a:xfrm>
                  <a:off x="7517937" y="5125364"/>
                  <a:ext cx="386005" cy="297758"/>
                </a:xfrm>
                <a:custGeom>
                  <a:avLst/>
                  <a:gdLst>
                    <a:gd name="connsiteX0" fmla="*/ 2178050 w 2546350"/>
                    <a:gd name="connsiteY0" fmla="*/ 2070100 h 2241550"/>
                    <a:gd name="connsiteX1" fmla="*/ 2546350 w 2546350"/>
                    <a:gd name="connsiteY1" fmla="*/ 1149350 h 2241550"/>
                    <a:gd name="connsiteX2" fmla="*/ 1066800 w 2546350"/>
                    <a:gd name="connsiteY2" fmla="*/ 0 h 2241550"/>
                    <a:gd name="connsiteX3" fmla="*/ 0 w 2546350"/>
                    <a:gd name="connsiteY3" fmla="*/ 1943100 h 2241550"/>
                    <a:gd name="connsiteX4" fmla="*/ 2120900 w 2546350"/>
                    <a:gd name="connsiteY4" fmla="*/ 2241550 h 2241550"/>
                    <a:gd name="connsiteX0" fmla="*/ 2178050 w 2546350"/>
                    <a:gd name="connsiteY0" fmla="*/ 2070100 h 2241550"/>
                    <a:gd name="connsiteX1" fmla="*/ 2546350 w 2546350"/>
                    <a:gd name="connsiteY1" fmla="*/ 1149350 h 2241550"/>
                    <a:gd name="connsiteX2" fmla="*/ 1066800 w 2546350"/>
                    <a:gd name="connsiteY2" fmla="*/ 0 h 2241550"/>
                    <a:gd name="connsiteX3" fmla="*/ 0 w 2546350"/>
                    <a:gd name="connsiteY3" fmla="*/ 1943100 h 2241550"/>
                    <a:gd name="connsiteX4" fmla="*/ 2120900 w 2546350"/>
                    <a:gd name="connsiteY4" fmla="*/ 2241550 h 2241550"/>
                    <a:gd name="connsiteX5" fmla="*/ 2178050 w 2546350"/>
                    <a:gd name="connsiteY5" fmla="*/ 2070100 h 2241550"/>
                    <a:gd name="connsiteX0" fmla="*/ 2607965 w 2976265"/>
                    <a:gd name="connsiteY0" fmla="*/ 2070100 h 2241550"/>
                    <a:gd name="connsiteX1" fmla="*/ 2976265 w 2976265"/>
                    <a:gd name="connsiteY1" fmla="*/ 1149350 h 2241550"/>
                    <a:gd name="connsiteX2" fmla="*/ 1496715 w 2976265"/>
                    <a:gd name="connsiteY2" fmla="*/ 0 h 2241550"/>
                    <a:gd name="connsiteX3" fmla="*/ 429915 w 2976265"/>
                    <a:gd name="connsiteY3" fmla="*/ 1943100 h 2241550"/>
                    <a:gd name="connsiteX4" fmla="*/ 2550815 w 2976265"/>
                    <a:gd name="connsiteY4" fmla="*/ 2241550 h 2241550"/>
                    <a:gd name="connsiteX5" fmla="*/ 2607965 w 2976265"/>
                    <a:gd name="connsiteY5" fmla="*/ 2070100 h 2241550"/>
                    <a:gd name="connsiteX0" fmla="*/ 2646387 w 3014687"/>
                    <a:gd name="connsiteY0" fmla="*/ 2070100 h 2241550"/>
                    <a:gd name="connsiteX1" fmla="*/ 3014687 w 3014687"/>
                    <a:gd name="connsiteY1" fmla="*/ 1149350 h 2241550"/>
                    <a:gd name="connsiteX2" fmla="*/ 1535137 w 3014687"/>
                    <a:gd name="connsiteY2" fmla="*/ 0 h 2241550"/>
                    <a:gd name="connsiteX3" fmla="*/ 468337 w 3014687"/>
                    <a:gd name="connsiteY3" fmla="*/ 1943100 h 2241550"/>
                    <a:gd name="connsiteX4" fmla="*/ 2589237 w 3014687"/>
                    <a:gd name="connsiteY4" fmla="*/ 2241550 h 2241550"/>
                    <a:gd name="connsiteX5" fmla="*/ 2646387 w 3014687"/>
                    <a:gd name="connsiteY5" fmla="*/ 2070100 h 2241550"/>
                    <a:gd name="connsiteX0" fmla="*/ 2646387 w 3014687"/>
                    <a:gd name="connsiteY0" fmla="*/ 2201556 h 2373006"/>
                    <a:gd name="connsiteX1" fmla="*/ 3014687 w 3014687"/>
                    <a:gd name="connsiteY1" fmla="*/ 1280806 h 2373006"/>
                    <a:gd name="connsiteX2" fmla="*/ 1535137 w 3014687"/>
                    <a:gd name="connsiteY2" fmla="*/ 131456 h 2373006"/>
                    <a:gd name="connsiteX3" fmla="*/ 468337 w 3014687"/>
                    <a:gd name="connsiteY3" fmla="*/ 2074556 h 2373006"/>
                    <a:gd name="connsiteX4" fmla="*/ 2589237 w 3014687"/>
                    <a:gd name="connsiteY4" fmla="*/ 2373006 h 2373006"/>
                    <a:gd name="connsiteX5" fmla="*/ 2646387 w 3014687"/>
                    <a:gd name="connsiteY5" fmla="*/ 2201556 h 2373006"/>
                    <a:gd name="connsiteX0" fmla="*/ 2646387 w 3603733"/>
                    <a:gd name="connsiteY0" fmla="*/ 2201556 h 2373006"/>
                    <a:gd name="connsiteX1" fmla="*/ 3014687 w 3603733"/>
                    <a:gd name="connsiteY1" fmla="*/ 1280806 h 2373006"/>
                    <a:gd name="connsiteX2" fmla="*/ 1535137 w 3603733"/>
                    <a:gd name="connsiteY2" fmla="*/ 131456 h 2373006"/>
                    <a:gd name="connsiteX3" fmla="*/ 468337 w 3603733"/>
                    <a:gd name="connsiteY3" fmla="*/ 2074556 h 2373006"/>
                    <a:gd name="connsiteX4" fmla="*/ 2589237 w 3603733"/>
                    <a:gd name="connsiteY4" fmla="*/ 2373006 h 2373006"/>
                    <a:gd name="connsiteX5" fmla="*/ 2646387 w 3603733"/>
                    <a:gd name="connsiteY5" fmla="*/ 2201556 h 2373006"/>
                    <a:gd name="connsiteX0" fmla="*/ 2646387 w 3603733"/>
                    <a:gd name="connsiteY0" fmla="*/ 2201556 h 2373006"/>
                    <a:gd name="connsiteX1" fmla="*/ 3014687 w 3603733"/>
                    <a:gd name="connsiteY1" fmla="*/ 1280806 h 2373006"/>
                    <a:gd name="connsiteX2" fmla="*/ 1535137 w 3603733"/>
                    <a:gd name="connsiteY2" fmla="*/ 131456 h 2373006"/>
                    <a:gd name="connsiteX3" fmla="*/ 468337 w 3603733"/>
                    <a:gd name="connsiteY3" fmla="*/ 2074556 h 2373006"/>
                    <a:gd name="connsiteX4" fmla="*/ 2589237 w 3603733"/>
                    <a:gd name="connsiteY4" fmla="*/ 2373006 h 2373006"/>
                    <a:gd name="connsiteX5" fmla="*/ 2646387 w 3603733"/>
                    <a:gd name="connsiteY5" fmla="*/ 2201556 h 2373006"/>
                    <a:gd name="connsiteX0" fmla="*/ 2646387 w 3603733"/>
                    <a:gd name="connsiteY0" fmla="*/ 2201556 h 2373006"/>
                    <a:gd name="connsiteX1" fmla="*/ 2427884 w 3603733"/>
                    <a:gd name="connsiteY1" fmla="*/ 1624897 h 2373006"/>
                    <a:gd name="connsiteX2" fmla="*/ 3014687 w 3603733"/>
                    <a:gd name="connsiteY2" fmla="*/ 1280806 h 2373006"/>
                    <a:gd name="connsiteX3" fmla="*/ 1535137 w 3603733"/>
                    <a:gd name="connsiteY3" fmla="*/ 131456 h 2373006"/>
                    <a:gd name="connsiteX4" fmla="*/ 468337 w 3603733"/>
                    <a:gd name="connsiteY4" fmla="*/ 2074556 h 2373006"/>
                    <a:gd name="connsiteX5" fmla="*/ 2589237 w 3603733"/>
                    <a:gd name="connsiteY5" fmla="*/ 2373006 h 2373006"/>
                    <a:gd name="connsiteX6" fmla="*/ 2646387 w 3603733"/>
                    <a:gd name="connsiteY6" fmla="*/ 2201556 h 2373006"/>
                    <a:gd name="connsiteX0" fmla="*/ 2646387 w 3603733"/>
                    <a:gd name="connsiteY0" fmla="*/ 2201556 h 2373006"/>
                    <a:gd name="connsiteX1" fmla="*/ 2427884 w 3603733"/>
                    <a:gd name="connsiteY1" fmla="*/ 1624897 h 2373006"/>
                    <a:gd name="connsiteX2" fmla="*/ 3014687 w 3603733"/>
                    <a:gd name="connsiteY2" fmla="*/ 1280806 h 2373006"/>
                    <a:gd name="connsiteX3" fmla="*/ 1535137 w 3603733"/>
                    <a:gd name="connsiteY3" fmla="*/ 131456 h 2373006"/>
                    <a:gd name="connsiteX4" fmla="*/ 468337 w 3603733"/>
                    <a:gd name="connsiteY4" fmla="*/ 2074556 h 2373006"/>
                    <a:gd name="connsiteX5" fmla="*/ 2589237 w 3603733"/>
                    <a:gd name="connsiteY5" fmla="*/ 2373006 h 2373006"/>
                    <a:gd name="connsiteX6" fmla="*/ 2646387 w 3603733"/>
                    <a:gd name="connsiteY6" fmla="*/ 2201556 h 2373006"/>
                    <a:gd name="connsiteX0" fmla="*/ 2646387 w 3603733"/>
                    <a:gd name="connsiteY0" fmla="*/ 2201556 h 2373006"/>
                    <a:gd name="connsiteX1" fmla="*/ 2427884 w 3603733"/>
                    <a:gd name="connsiteY1" fmla="*/ 1624897 h 2373006"/>
                    <a:gd name="connsiteX2" fmla="*/ 3014687 w 3603733"/>
                    <a:gd name="connsiteY2" fmla="*/ 1280806 h 2373006"/>
                    <a:gd name="connsiteX3" fmla="*/ 1535137 w 3603733"/>
                    <a:gd name="connsiteY3" fmla="*/ 131456 h 2373006"/>
                    <a:gd name="connsiteX4" fmla="*/ 468337 w 3603733"/>
                    <a:gd name="connsiteY4" fmla="*/ 2074556 h 2373006"/>
                    <a:gd name="connsiteX5" fmla="*/ 2589237 w 3603733"/>
                    <a:gd name="connsiteY5" fmla="*/ 2373006 h 2373006"/>
                    <a:gd name="connsiteX6" fmla="*/ 2646387 w 3603733"/>
                    <a:gd name="connsiteY6" fmla="*/ 2201556 h 2373006"/>
                    <a:gd name="connsiteX0" fmla="*/ 2646387 w 3603733"/>
                    <a:gd name="connsiteY0" fmla="*/ 2201556 h 2201556"/>
                    <a:gd name="connsiteX1" fmla="*/ 2427884 w 3603733"/>
                    <a:gd name="connsiteY1" fmla="*/ 1624897 h 2201556"/>
                    <a:gd name="connsiteX2" fmla="*/ 3014687 w 3603733"/>
                    <a:gd name="connsiteY2" fmla="*/ 1280806 h 2201556"/>
                    <a:gd name="connsiteX3" fmla="*/ 1535137 w 3603733"/>
                    <a:gd name="connsiteY3" fmla="*/ 131456 h 2201556"/>
                    <a:gd name="connsiteX4" fmla="*/ 468337 w 3603733"/>
                    <a:gd name="connsiteY4" fmla="*/ 2074556 h 2201556"/>
                    <a:gd name="connsiteX5" fmla="*/ 2646387 w 3603733"/>
                    <a:gd name="connsiteY5" fmla="*/ 2201556 h 2201556"/>
                    <a:gd name="connsiteX0" fmla="*/ 2646387 w 3603733"/>
                    <a:gd name="connsiteY0" fmla="*/ 2201556 h 2850728"/>
                    <a:gd name="connsiteX1" fmla="*/ 2427884 w 3603733"/>
                    <a:gd name="connsiteY1" fmla="*/ 1624897 h 2850728"/>
                    <a:gd name="connsiteX2" fmla="*/ 3014687 w 3603733"/>
                    <a:gd name="connsiteY2" fmla="*/ 1280806 h 2850728"/>
                    <a:gd name="connsiteX3" fmla="*/ 1535137 w 3603733"/>
                    <a:gd name="connsiteY3" fmla="*/ 131456 h 2850728"/>
                    <a:gd name="connsiteX4" fmla="*/ 468337 w 3603733"/>
                    <a:gd name="connsiteY4" fmla="*/ 2074556 h 2850728"/>
                    <a:gd name="connsiteX5" fmla="*/ 2646387 w 3603733"/>
                    <a:gd name="connsiteY5" fmla="*/ 2201556 h 2850728"/>
                    <a:gd name="connsiteX0" fmla="*/ 2646387 w 3603733"/>
                    <a:gd name="connsiteY0" fmla="*/ 2201556 h 2850728"/>
                    <a:gd name="connsiteX1" fmla="*/ 2427884 w 3603733"/>
                    <a:gd name="connsiteY1" fmla="*/ 1624897 h 2850728"/>
                    <a:gd name="connsiteX2" fmla="*/ 3014687 w 3603733"/>
                    <a:gd name="connsiteY2" fmla="*/ 1280806 h 2850728"/>
                    <a:gd name="connsiteX3" fmla="*/ 1535137 w 3603733"/>
                    <a:gd name="connsiteY3" fmla="*/ 131456 h 2850728"/>
                    <a:gd name="connsiteX4" fmla="*/ 468337 w 3603733"/>
                    <a:gd name="connsiteY4" fmla="*/ 2074556 h 2850728"/>
                    <a:gd name="connsiteX5" fmla="*/ 2646387 w 3603733"/>
                    <a:gd name="connsiteY5" fmla="*/ 2201556 h 2850728"/>
                    <a:gd name="connsiteX0" fmla="*/ 2646387 w 3603733"/>
                    <a:gd name="connsiteY0" fmla="*/ 2201556 h 2779861"/>
                    <a:gd name="connsiteX1" fmla="*/ 2427884 w 3603733"/>
                    <a:gd name="connsiteY1" fmla="*/ 1624897 h 2779861"/>
                    <a:gd name="connsiteX2" fmla="*/ 3014687 w 3603733"/>
                    <a:gd name="connsiteY2" fmla="*/ 1280806 h 2779861"/>
                    <a:gd name="connsiteX3" fmla="*/ 1535137 w 3603733"/>
                    <a:gd name="connsiteY3" fmla="*/ 131456 h 2779861"/>
                    <a:gd name="connsiteX4" fmla="*/ 468337 w 3603733"/>
                    <a:gd name="connsiteY4" fmla="*/ 2074556 h 2779861"/>
                    <a:gd name="connsiteX5" fmla="*/ 2646387 w 3603733"/>
                    <a:gd name="connsiteY5" fmla="*/ 2201556 h 277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3733" h="2779861">
                      <a:moveTo>
                        <a:pt x="2646387" y="2201556"/>
                      </a:moveTo>
                      <a:cubicBezTo>
                        <a:pt x="2691631" y="2051463"/>
                        <a:pt x="2366501" y="1778355"/>
                        <a:pt x="2427884" y="1624897"/>
                      </a:cubicBezTo>
                      <a:cubicBezTo>
                        <a:pt x="2489267" y="1471439"/>
                        <a:pt x="2726796" y="1556494"/>
                        <a:pt x="3014687" y="1280806"/>
                      </a:cubicBezTo>
                      <a:cubicBezTo>
                        <a:pt x="3603733" y="485038"/>
                        <a:pt x="2499609" y="0"/>
                        <a:pt x="1535137" y="131456"/>
                      </a:cubicBezTo>
                      <a:cubicBezTo>
                        <a:pt x="38422" y="409938"/>
                        <a:pt x="0" y="1515037"/>
                        <a:pt x="468337" y="2074556"/>
                      </a:cubicBezTo>
                      <a:cubicBezTo>
                        <a:pt x="896202" y="2566077"/>
                        <a:pt x="2418325" y="2779861"/>
                        <a:pt x="2646387" y="2201556"/>
                      </a:cubicBezTo>
                      <a:close/>
                    </a:path>
                  </a:pathLst>
                </a:custGeom>
                <a:solidFill>
                  <a:schemeClr val="bg1"/>
                </a:solidFill>
                <a:ln w="12700">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722" dirty="0"/>
                </a:p>
              </p:txBody>
            </p:sp>
            <p:sp>
              <p:nvSpPr>
                <p:cNvPr id="80" name="Freeform 76">
                  <a:extLst>
                    <a:ext uri="{FF2B5EF4-FFF2-40B4-BE49-F238E27FC236}">
                      <a16:creationId xmlns:a16="http://schemas.microsoft.com/office/drawing/2014/main" id="{4F2E193E-437C-41A1-91E0-3352021CD6F5}"/>
                    </a:ext>
                  </a:extLst>
                </p:cNvPr>
                <p:cNvSpPr/>
                <p:nvPr>
                  <p:custDataLst>
                    <p:tags r:id="rId2"/>
                  </p:custDataLst>
                </p:nvPr>
              </p:nvSpPr>
              <p:spPr>
                <a:xfrm>
                  <a:off x="7598369" y="5095914"/>
                  <a:ext cx="55114" cy="55242"/>
                </a:xfrm>
                <a:custGeom>
                  <a:avLst/>
                  <a:gdLst>
                    <a:gd name="connsiteX0" fmla="*/ 0 w 247650"/>
                    <a:gd name="connsiteY0" fmla="*/ 0 h 485775"/>
                    <a:gd name="connsiteX1" fmla="*/ 247650 w 247650"/>
                    <a:gd name="connsiteY1" fmla="*/ 485775 h 485775"/>
                    <a:gd name="connsiteX2" fmla="*/ 0 w 247650"/>
                    <a:gd name="connsiteY2" fmla="*/ 0 h 485775"/>
                    <a:gd name="connsiteX0" fmla="*/ 0 w 514548"/>
                    <a:gd name="connsiteY0" fmla="*/ 0 h 485775"/>
                    <a:gd name="connsiteX1" fmla="*/ 247650 w 514548"/>
                    <a:gd name="connsiteY1" fmla="*/ 485775 h 485775"/>
                    <a:gd name="connsiteX2" fmla="*/ 0 w 514548"/>
                    <a:gd name="connsiteY2" fmla="*/ 0 h 485775"/>
                    <a:gd name="connsiteX0" fmla="*/ 0 w 514548"/>
                    <a:gd name="connsiteY0" fmla="*/ 0 h 515739"/>
                    <a:gd name="connsiteX1" fmla="*/ 247650 w 514548"/>
                    <a:gd name="connsiteY1" fmla="*/ 485775 h 515739"/>
                    <a:gd name="connsiteX2" fmla="*/ 0 w 514548"/>
                    <a:gd name="connsiteY2" fmla="*/ 0 h 515739"/>
                    <a:gd name="connsiteX0" fmla="*/ 0 w 514548"/>
                    <a:gd name="connsiteY0" fmla="*/ 0 h 515739"/>
                    <a:gd name="connsiteX1" fmla="*/ 247650 w 514548"/>
                    <a:gd name="connsiteY1" fmla="*/ 485775 h 515739"/>
                    <a:gd name="connsiteX2" fmla="*/ 0 w 514548"/>
                    <a:gd name="connsiteY2" fmla="*/ 0 h 515739"/>
                    <a:gd name="connsiteX0" fmla="*/ 0 w 514548"/>
                    <a:gd name="connsiteY0" fmla="*/ 0 h 515739"/>
                    <a:gd name="connsiteX1" fmla="*/ 247650 w 514548"/>
                    <a:gd name="connsiteY1" fmla="*/ 485775 h 515739"/>
                    <a:gd name="connsiteX2" fmla="*/ 0 w 514548"/>
                    <a:gd name="connsiteY2" fmla="*/ 0 h 515739"/>
                  </a:gdLst>
                  <a:ahLst/>
                  <a:cxnLst>
                    <a:cxn ang="0">
                      <a:pos x="connsiteX0" y="connsiteY0"/>
                    </a:cxn>
                    <a:cxn ang="0">
                      <a:pos x="connsiteX1" y="connsiteY1"/>
                    </a:cxn>
                    <a:cxn ang="0">
                      <a:pos x="connsiteX2" y="connsiteY2"/>
                    </a:cxn>
                  </a:cxnLst>
                  <a:rect l="l" t="t" r="r" b="b"/>
                  <a:pathLst>
                    <a:path w="514548" h="515739">
                      <a:moveTo>
                        <a:pt x="0" y="0"/>
                      </a:moveTo>
                      <a:cubicBezTo>
                        <a:pt x="142056" y="76349"/>
                        <a:pt x="514548" y="387151"/>
                        <a:pt x="247650" y="485775"/>
                      </a:cubicBezTo>
                      <a:cubicBezTo>
                        <a:pt x="85923" y="515739"/>
                        <a:pt x="22994" y="185886"/>
                        <a:pt x="0" y="0"/>
                      </a:cubicBezTo>
                      <a:close/>
                    </a:path>
                  </a:pathLst>
                </a:custGeom>
                <a:noFill/>
                <a:ln w="127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1" name="Oval 77">
                  <a:extLst>
                    <a:ext uri="{FF2B5EF4-FFF2-40B4-BE49-F238E27FC236}">
                      <a16:creationId xmlns:a16="http://schemas.microsoft.com/office/drawing/2014/main" id="{604CB67F-081A-49A8-97D6-6B3C41D158DD}"/>
                    </a:ext>
                  </a:extLst>
                </p:cNvPr>
                <p:cNvSpPr/>
                <p:nvPr>
                  <p:custDataLst>
                    <p:tags r:id="rId3"/>
                  </p:custDataLst>
                </p:nvPr>
              </p:nvSpPr>
              <p:spPr>
                <a:xfrm>
                  <a:off x="7683050" y="5274797"/>
                  <a:ext cx="70173" cy="61215"/>
                </a:xfrm>
                <a:prstGeom prst="ellipse">
                  <a:avLst/>
                </a:prstGeom>
                <a:solidFill>
                  <a:schemeClr val="bg1"/>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2" name="Oval 78">
                  <a:extLst>
                    <a:ext uri="{FF2B5EF4-FFF2-40B4-BE49-F238E27FC236}">
                      <a16:creationId xmlns:a16="http://schemas.microsoft.com/office/drawing/2014/main" id="{7D0A4E51-D6A6-4039-96E2-3A41014FAA43}"/>
                    </a:ext>
                  </a:extLst>
                </p:cNvPr>
                <p:cNvSpPr/>
                <p:nvPr>
                  <p:custDataLst>
                    <p:tags r:id="rId4"/>
                  </p:custDataLst>
                </p:nvPr>
              </p:nvSpPr>
              <p:spPr>
                <a:xfrm>
                  <a:off x="7743664" y="5155145"/>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3" name="Oval 79">
                  <a:extLst>
                    <a:ext uri="{FF2B5EF4-FFF2-40B4-BE49-F238E27FC236}">
                      <a16:creationId xmlns:a16="http://schemas.microsoft.com/office/drawing/2014/main" id="{C143F5D5-808A-42C0-B548-FF305EBDF24B}"/>
                    </a:ext>
                  </a:extLst>
                </p:cNvPr>
                <p:cNvSpPr/>
                <p:nvPr>
                  <p:custDataLst>
                    <p:tags r:id="rId5"/>
                  </p:custDataLst>
                </p:nvPr>
              </p:nvSpPr>
              <p:spPr>
                <a:xfrm>
                  <a:off x="7677056" y="5156891"/>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4" name="Oval 80">
                  <a:extLst>
                    <a:ext uri="{FF2B5EF4-FFF2-40B4-BE49-F238E27FC236}">
                      <a16:creationId xmlns:a16="http://schemas.microsoft.com/office/drawing/2014/main" id="{8C613589-31E6-468D-9A5C-5DE250B69631}"/>
                    </a:ext>
                  </a:extLst>
                </p:cNvPr>
                <p:cNvSpPr/>
                <p:nvPr>
                  <p:custDataLst>
                    <p:tags r:id="rId6"/>
                  </p:custDataLst>
                </p:nvPr>
              </p:nvSpPr>
              <p:spPr>
                <a:xfrm>
                  <a:off x="7590141" y="5184309"/>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5" name="Oval 81">
                  <a:extLst>
                    <a:ext uri="{FF2B5EF4-FFF2-40B4-BE49-F238E27FC236}">
                      <a16:creationId xmlns:a16="http://schemas.microsoft.com/office/drawing/2014/main" id="{1C6D5CD3-E1A8-430D-834C-541A6687FBEF}"/>
                    </a:ext>
                  </a:extLst>
                </p:cNvPr>
                <p:cNvSpPr/>
                <p:nvPr>
                  <p:custDataLst>
                    <p:tags r:id="rId7"/>
                  </p:custDataLst>
                </p:nvPr>
              </p:nvSpPr>
              <p:spPr>
                <a:xfrm>
                  <a:off x="7558954" y="5229073"/>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6" name="Oval 82">
                  <a:extLst>
                    <a:ext uri="{FF2B5EF4-FFF2-40B4-BE49-F238E27FC236}">
                      <a16:creationId xmlns:a16="http://schemas.microsoft.com/office/drawing/2014/main" id="{13594718-85FF-4134-AAC7-0FD047572EFA}"/>
                    </a:ext>
                  </a:extLst>
                </p:cNvPr>
                <p:cNvSpPr/>
                <p:nvPr>
                  <p:custDataLst>
                    <p:tags r:id="rId8"/>
                  </p:custDataLst>
                </p:nvPr>
              </p:nvSpPr>
              <p:spPr>
                <a:xfrm>
                  <a:off x="7564746" y="5283411"/>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7" name="Oval 83">
                  <a:extLst>
                    <a:ext uri="{FF2B5EF4-FFF2-40B4-BE49-F238E27FC236}">
                      <a16:creationId xmlns:a16="http://schemas.microsoft.com/office/drawing/2014/main" id="{7B40BCFD-A521-42E6-B3E0-2771FB62098F}"/>
                    </a:ext>
                  </a:extLst>
                </p:cNvPr>
                <p:cNvSpPr/>
                <p:nvPr>
                  <p:custDataLst>
                    <p:tags r:id="rId9"/>
                  </p:custDataLst>
                </p:nvPr>
              </p:nvSpPr>
              <p:spPr>
                <a:xfrm>
                  <a:off x="7606605" y="5328335"/>
                  <a:ext cx="43442" cy="37896"/>
                </a:xfrm>
                <a:prstGeom prst="ellipse">
                  <a:avLst/>
                </a:prstGeom>
                <a:solidFill>
                  <a:schemeClr val="bg1"/>
                </a:solidFill>
                <a:ln w="63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sp>
              <p:nvSpPr>
                <p:cNvPr id="88" name="Freeform 84">
                  <a:extLst>
                    <a:ext uri="{FF2B5EF4-FFF2-40B4-BE49-F238E27FC236}">
                      <a16:creationId xmlns:a16="http://schemas.microsoft.com/office/drawing/2014/main" id="{71A6C0A2-176F-4E4E-A765-A8E01393F20E}"/>
                    </a:ext>
                  </a:extLst>
                </p:cNvPr>
                <p:cNvSpPr/>
                <p:nvPr>
                  <p:custDataLst>
                    <p:tags r:id="rId10"/>
                  </p:custDataLst>
                </p:nvPr>
              </p:nvSpPr>
              <p:spPr>
                <a:xfrm>
                  <a:off x="7626732" y="5151823"/>
                  <a:ext cx="110060" cy="185070"/>
                </a:xfrm>
                <a:custGeom>
                  <a:avLst/>
                  <a:gdLst>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9100 w 1592580"/>
                    <a:gd name="connsiteY6" fmla="*/ 419100 h 2834640"/>
                    <a:gd name="connsiteX7" fmla="*/ 114300 w 1592580"/>
                    <a:gd name="connsiteY7" fmla="*/ 0 h 2834640"/>
                    <a:gd name="connsiteX8" fmla="*/ 0 w 1592580"/>
                    <a:gd name="connsiteY8" fmla="*/ 45720 h 2834640"/>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2130 w 1592580"/>
                    <a:gd name="connsiteY6" fmla="*/ 441548 h 2834640"/>
                    <a:gd name="connsiteX7" fmla="*/ 114300 w 1592580"/>
                    <a:gd name="connsiteY7" fmla="*/ 0 h 2834640"/>
                    <a:gd name="connsiteX8" fmla="*/ 0 w 1592580"/>
                    <a:gd name="connsiteY8" fmla="*/ 45720 h 2834640"/>
                    <a:gd name="connsiteX0" fmla="*/ 0 w 1592580"/>
                    <a:gd name="connsiteY0" fmla="*/ 45720 h 2834640"/>
                    <a:gd name="connsiteX1" fmla="*/ 182880 w 1592580"/>
                    <a:gd name="connsiteY1" fmla="*/ 525780 h 2834640"/>
                    <a:gd name="connsiteX2" fmla="*/ 236220 w 1592580"/>
                    <a:gd name="connsiteY2" fmla="*/ 548640 h 2834640"/>
                    <a:gd name="connsiteX3" fmla="*/ 1524000 w 1592580"/>
                    <a:gd name="connsiteY3" fmla="*/ 2834640 h 2834640"/>
                    <a:gd name="connsiteX4" fmla="*/ 1592580 w 1592580"/>
                    <a:gd name="connsiteY4" fmla="*/ 2788920 h 2834640"/>
                    <a:gd name="connsiteX5" fmla="*/ 388620 w 1592580"/>
                    <a:gd name="connsiteY5" fmla="*/ 464820 h 2834640"/>
                    <a:gd name="connsiteX6" fmla="*/ 412130 w 1592580"/>
                    <a:gd name="connsiteY6" fmla="*/ 441548 h 2834640"/>
                    <a:gd name="connsiteX7" fmla="*/ 114300 w 1592580"/>
                    <a:gd name="connsiteY7" fmla="*/ 0 h 2834640"/>
                    <a:gd name="connsiteX8" fmla="*/ 0 w 1592580"/>
                    <a:gd name="connsiteY8" fmla="*/ 45720 h 2834640"/>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617916"/>
                    <a:gd name="connsiteY0" fmla="*/ 45720 h 2865884"/>
                    <a:gd name="connsiteX1" fmla="*/ 182880 w 1617916"/>
                    <a:gd name="connsiteY1" fmla="*/ 525780 h 2865884"/>
                    <a:gd name="connsiteX2" fmla="*/ 236220 w 1617916"/>
                    <a:gd name="connsiteY2" fmla="*/ 548640 h 2865884"/>
                    <a:gd name="connsiteX3" fmla="*/ 1524000 w 1617916"/>
                    <a:gd name="connsiteY3" fmla="*/ 2834640 h 2865884"/>
                    <a:gd name="connsiteX4" fmla="*/ 1592580 w 1617916"/>
                    <a:gd name="connsiteY4" fmla="*/ 2788920 h 2865884"/>
                    <a:gd name="connsiteX5" fmla="*/ 388620 w 1617916"/>
                    <a:gd name="connsiteY5" fmla="*/ 464820 h 2865884"/>
                    <a:gd name="connsiteX6" fmla="*/ 412130 w 1617916"/>
                    <a:gd name="connsiteY6" fmla="*/ 441548 h 2865884"/>
                    <a:gd name="connsiteX7" fmla="*/ 114300 w 1617916"/>
                    <a:gd name="connsiteY7" fmla="*/ 0 h 2865884"/>
                    <a:gd name="connsiteX8" fmla="*/ 0 w 1617916"/>
                    <a:gd name="connsiteY8" fmla="*/ 45720 h 2865884"/>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592674"/>
                    <a:gd name="connsiteY0" fmla="*/ 45720 h 2865884"/>
                    <a:gd name="connsiteX1" fmla="*/ 182880 w 1592674"/>
                    <a:gd name="connsiteY1" fmla="*/ 525780 h 2865884"/>
                    <a:gd name="connsiteX2" fmla="*/ 236220 w 1592674"/>
                    <a:gd name="connsiteY2" fmla="*/ 548640 h 2865884"/>
                    <a:gd name="connsiteX3" fmla="*/ 1524000 w 1592674"/>
                    <a:gd name="connsiteY3" fmla="*/ 2834640 h 2865884"/>
                    <a:gd name="connsiteX4" fmla="*/ 1592580 w 1592674"/>
                    <a:gd name="connsiteY4" fmla="*/ 2788920 h 2865884"/>
                    <a:gd name="connsiteX5" fmla="*/ 388620 w 1592674"/>
                    <a:gd name="connsiteY5" fmla="*/ 464820 h 2865884"/>
                    <a:gd name="connsiteX6" fmla="*/ 412130 w 1592674"/>
                    <a:gd name="connsiteY6" fmla="*/ 441548 h 2865884"/>
                    <a:gd name="connsiteX7" fmla="*/ 114300 w 1592674"/>
                    <a:gd name="connsiteY7" fmla="*/ 0 h 2865884"/>
                    <a:gd name="connsiteX8" fmla="*/ 0 w 1592674"/>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1524000 w 1599437"/>
                    <a:gd name="connsiteY3" fmla="*/ 2834640 h 2865884"/>
                    <a:gd name="connsiteX4" fmla="*/ 1592580 w 1599437"/>
                    <a:gd name="connsiteY4" fmla="*/ 2788920 h 2865884"/>
                    <a:gd name="connsiteX5" fmla="*/ 388620 w 1599437"/>
                    <a:gd name="connsiteY5" fmla="*/ 464820 h 2865884"/>
                    <a:gd name="connsiteX6" fmla="*/ 412130 w 1599437"/>
                    <a:gd name="connsiteY6" fmla="*/ 441548 h 2865884"/>
                    <a:gd name="connsiteX7" fmla="*/ 114300 w 1599437"/>
                    <a:gd name="connsiteY7" fmla="*/ 0 h 2865884"/>
                    <a:gd name="connsiteX8" fmla="*/ 0 w 1599437"/>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1524000 w 1599437"/>
                    <a:gd name="connsiteY3" fmla="*/ 2834640 h 2865884"/>
                    <a:gd name="connsiteX4" fmla="*/ 1592580 w 1599437"/>
                    <a:gd name="connsiteY4" fmla="*/ 2788920 h 2865884"/>
                    <a:gd name="connsiteX5" fmla="*/ 388620 w 1599437"/>
                    <a:gd name="connsiteY5" fmla="*/ 464820 h 2865884"/>
                    <a:gd name="connsiteX6" fmla="*/ 412130 w 1599437"/>
                    <a:gd name="connsiteY6" fmla="*/ 441548 h 2865884"/>
                    <a:gd name="connsiteX7" fmla="*/ 114300 w 1599437"/>
                    <a:gd name="connsiteY7" fmla="*/ 0 h 2865884"/>
                    <a:gd name="connsiteX8" fmla="*/ 0 w 1599437"/>
                    <a:gd name="connsiteY8"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1524000 w 1599437"/>
                    <a:gd name="connsiteY3" fmla="*/ 2834640 h 2865884"/>
                    <a:gd name="connsiteX4" fmla="*/ 1592580 w 1599437"/>
                    <a:gd name="connsiteY4" fmla="*/ 2788920 h 2865884"/>
                    <a:gd name="connsiteX5" fmla="*/ 1027516 w 1599437"/>
                    <a:gd name="connsiteY5" fmla="*/ 1650770 h 2865884"/>
                    <a:gd name="connsiteX6" fmla="*/ 388620 w 1599437"/>
                    <a:gd name="connsiteY6" fmla="*/ 464820 h 2865884"/>
                    <a:gd name="connsiteX7" fmla="*/ 412130 w 1599437"/>
                    <a:gd name="connsiteY7" fmla="*/ 441548 h 2865884"/>
                    <a:gd name="connsiteX8" fmla="*/ 114300 w 1599437"/>
                    <a:gd name="connsiteY8" fmla="*/ 0 h 2865884"/>
                    <a:gd name="connsiteX9" fmla="*/ 0 w 1599437"/>
                    <a:gd name="connsiteY9" fmla="*/ 45720 h 2865884"/>
                    <a:gd name="connsiteX0" fmla="*/ 0 w 1599437"/>
                    <a:gd name="connsiteY0" fmla="*/ 45720 h 2865884"/>
                    <a:gd name="connsiteX1" fmla="*/ 182880 w 1599437"/>
                    <a:gd name="connsiteY1" fmla="*/ 525780 h 2865884"/>
                    <a:gd name="connsiteX2" fmla="*/ 236220 w 1599437"/>
                    <a:gd name="connsiteY2" fmla="*/ 548640 h 2865884"/>
                    <a:gd name="connsiteX3" fmla="*/ 847771 w 1599437"/>
                    <a:gd name="connsiteY3" fmla="*/ 1727806 h 2865884"/>
                    <a:gd name="connsiteX4" fmla="*/ 1524000 w 1599437"/>
                    <a:gd name="connsiteY4" fmla="*/ 2834640 h 2865884"/>
                    <a:gd name="connsiteX5" fmla="*/ 1592580 w 1599437"/>
                    <a:gd name="connsiteY5" fmla="*/ 2788920 h 2865884"/>
                    <a:gd name="connsiteX6" fmla="*/ 1027516 w 1599437"/>
                    <a:gd name="connsiteY6" fmla="*/ 1650770 h 2865884"/>
                    <a:gd name="connsiteX7" fmla="*/ 388620 w 1599437"/>
                    <a:gd name="connsiteY7" fmla="*/ 464820 h 2865884"/>
                    <a:gd name="connsiteX8" fmla="*/ 412130 w 1599437"/>
                    <a:gd name="connsiteY8" fmla="*/ 441548 h 2865884"/>
                    <a:gd name="connsiteX9" fmla="*/ 114300 w 1599437"/>
                    <a:gd name="connsiteY9" fmla="*/ 0 h 2865884"/>
                    <a:gd name="connsiteX10" fmla="*/ 0 w 1599437"/>
                    <a:gd name="connsiteY10" fmla="*/ 45720 h 2865884"/>
                    <a:gd name="connsiteX0" fmla="*/ 0 w 1622539"/>
                    <a:gd name="connsiteY0" fmla="*/ 45720 h 2801759"/>
                    <a:gd name="connsiteX1" fmla="*/ 182880 w 1622539"/>
                    <a:gd name="connsiteY1" fmla="*/ 525780 h 2801759"/>
                    <a:gd name="connsiteX2" fmla="*/ 236220 w 1622539"/>
                    <a:gd name="connsiteY2" fmla="*/ 548640 h 2801759"/>
                    <a:gd name="connsiteX3" fmla="*/ 847771 w 1622539"/>
                    <a:gd name="connsiteY3" fmla="*/ 1727806 h 2801759"/>
                    <a:gd name="connsiteX4" fmla="*/ 1592580 w 1622539"/>
                    <a:gd name="connsiteY4" fmla="*/ 2788920 h 2801759"/>
                    <a:gd name="connsiteX5" fmla="*/ 1027516 w 1622539"/>
                    <a:gd name="connsiteY5" fmla="*/ 1650770 h 2801759"/>
                    <a:gd name="connsiteX6" fmla="*/ 388620 w 1622539"/>
                    <a:gd name="connsiteY6" fmla="*/ 464820 h 2801759"/>
                    <a:gd name="connsiteX7" fmla="*/ 412130 w 1622539"/>
                    <a:gd name="connsiteY7" fmla="*/ 441548 h 2801759"/>
                    <a:gd name="connsiteX8" fmla="*/ 114300 w 1622539"/>
                    <a:gd name="connsiteY8" fmla="*/ 0 h 2801759"/>
                    <a:gd name="connsiteX9" fmla="*/ 0 w 1622539"/>
                    <a:gd name="connsiteY9" fmla="*/ 45720 h 2801759"/>
                    <a:gd name="connsiteX0" fmla="*/ 0 w 1104042"/>
                    <a:gd name="connsiteY0" fmla="*/ 45720 h 1911494"/>
                    <a:gd name="connsiteX1" fmla="*/ 182880 w 1104042"/>
                    <a:gd name="connsiteY1" fmla="*/ 525780 h 1911494"/>
                    <a:gd name="connsiteX2" fmla="*/ 236220 w 1104042"/>
                    <a:gd name="connsiteY2" fmla="*/ 548640 h 1911494"/>
                    <a:gd name="connsiteX3" fmla="*/ 847771 w 1104042"/>
                    <a:gd name="connsiteY3" fmla="*/ 1727806 h 1911494"/>
                    <a:gd name="connsiteX4" fmla="*/ 1027516 w 1104042"/>
                    <a:gd name="connsiteY4" fmla="*/ 1650770 h 1911494"/>
                    <a:gd name="connsiteX5" fmla="*/ 388620 w 1104042"/>
                    <a:gd name="connsiteY5" fmla="*/ 464820 h 1911494"/>
                    <a:gd name="connsiteX6" fmla="*/ 412130 w 1104042"/>
                    <a:gd name="connsiteY6" fmla="*/ 441548 h 1911494"/>
                    <a:gd name="connsiteX7" fmla="*/ 114300 w 1104042"/>
                    <a:gd name="connsiteY7" fmla="*/ 0 h 1911494"/>
                    <a:gd name="connsiteX8" fmla="*/ 0 w 1104042"/>
                    <a:gd name="connsiteY8" fmla="*/ 45720 h 1911494"/>
                    <a:gd name="connsiteX0" fmla="*/ 0 w 1104042"/>
                    <a:gd name="connsiteY0" fmla="*/ 45720 h 1861269"/>
                    <a:gd name="connsiteX1" fmla="*/ 182880 w 1104042"/>
                    <a:gd name="connsiteY1" fmla="*/ 525780 h 1861269"/>
                    <a:gd name="connsiteX2" fmla="*/ 236220 w 1104042"/>
                    <a:gd name="connsiteY2" fmla="*/ 548640 h 1861269"/>
                    <a:gd name="connsiteX3" fmla="*/ 847771 w 1104042"/>
                    <a:gd name="connsiteY3" fmla="*/ 1727806 h 1861269"/>
                    <a:gd name="connsiteX4" fmla="*/ 1027516 w 1104042"/>
                    <a:gd name="connsiteY4" fmla="*/ 1650770 h 1861269"/>
                    <a:gd name="connsiteX5" fmla="*/ 388620 w 1104042"/>
                    <a:gd name="connsiteY5" fmla="*/ 464820 h 1861269"/>
                    <a:gd name="connsiteX6" fmla="*/ 412130 w 1104042"/>
                    <a:gd name="connsiteY6" fmla="*/ 441548 h 1861269"/>
                    <a:gd name="connsiteX7" fmla="*/ 114300 w 1104042"/>
                    <a:gd name="connsiteY7" fmla="*/ 0 h 1861269"/>
                    <a:gd name="connsiteX8" fmla="*/ 0 w 1104042"/>
                    <a:gd name="connsiteY8" fmla="*/ 45720 h 1861269"/>
                    <a:gd name="connsiteX0" fmla="*/ 0 w 1027516"/>
                    <a:gd name="connsiteY0" fmla="*/ 45720 h 1727807"/>
                    <a:gd name="connsiteX1" fmla="*/ 182880 w 1027516"/>
                    <a:gd name="connsiteY1" fmla="*/ 525780 h 1727807"/>
                    <a:gd name="connsiteX2" fmla="*/ 236220 w 1027516"/>
                    <a:gd name="connsiteY2" fmla="*/ 548640 h 1727807"/>
                    <a:gd name="connsiteX3" fmla="*/ 847771 w 1027516"/>
                    <a:gd name="connsiteY3" fmla="*/ 1727806 h 1727807"/>
                    <a:gd name="connsiteX4" fmla="*/ 1027516 w 1027516"/>
                    <a:gd name="connsiteY4" fmla="*/ 1650770 h 1727807"/>
                    <a:gd name="connsiteX5" fmla="*/ 388620 w 1027516"/>
                    <a:gd name="connsiteY5" fmla="*/ 464820 h 1727807"/>
                    <a:gd name="connsiteX6" fmla="*/ 412130 w 1027516"/>
                    <a:gd name="connsiteY6" fmla="*/ 441548 h 1727807"/>
                    <a:gd name="connsiteX7" fmla="*/ 114300 w 1027516"/>
                    <a:gd name="connsiteY7" fmla="*/ 0 h 1727807"/>
                    <a:gd name="connsiteX8" fmla="*/ 0 w 1027516"/>
                    <a:gd name="connsiteY8" fmla="*/ 45720 h 172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7516" h="1727807">
                      <a:moveTo>
                        <a:pt x="0" y="45720"/>
                      </a:moveTo>
                      <a:lnTo>
                        <a:pt x="182880" y="525780"/>
                      </a:lnTo>
                      <a:lnTo>
                        <a:pt x="236220" y="548640"/>
                      </a:lnTo>
                      <a:cubicBezTo>
                        <a:pt x="347035" y="748978"/>
                        <a:pt x="715888" y="1544118"/>
                        <a:pt x="847771" y="1727806"/>
                      </a:cubicBezTo>
                      <a:cubicBezTo>
                        <a:pt x="915495" y="1693573"/>
                        <a:pt x="959041" y="1719248"/>
                        <a:pt x="1027516" y="1650770"/>
                      </a:cubicBezTo>
                      <a:cubicBezTo>
                        <a:pt x="826856" y="1263420"/>
                        <a:pt x="491184" y="666357"/>
                        <a:pt x="388620" y="464820"/>
                      </a:cubicBezTo>
                      <a:lnTo>
                        <a:pt x="412130" y="441548"/>
                      </a:lnTo>
                      <a:lnTo>
                        <a:pt x="114300" y="0"/>
                      </a:lnTo>
                      <a:lnTo>
                        <a:pt x="0" y="45720"/>
                      </a:lnTo>
                      <a:close/>
                    </a:path>
                  </a:pathLst>
                </a:custGeom>
                <a:solidFill>
                  <a:schemeClr val="bg1"/>
                </a:solidFill>
                <a:ln w="127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15" dirty="0">
                    <a:solidFill>
                      <a:schemeClr val="tx2">
                        <a:lumMod val="50000"/>
                      </a:schemeClr>
                    </a:solidFill>
                  </a:endParaRPr>
                </a:p>
              </p:txBody>
            </p:sp>
          </p:grpSp>
          <p:cxnSp>
            <p:nvCxnSpPr>
              <p:cNvPr id="68" name="Straight Connector 64">
                <a:extLst>
                  <a:ext uri="{FF2B5EF4-FFF2-40B4-BE49-F238E27FC236}">
                    <a16:creationId xmlns:a16="http://schemas.microsoft.com/office/drawing/2014/main" id="{E62E8FAE-286D-4402-BBD6-D19586AC7183}"/>
                  </a:ext>
                </a:extLst>
              </p:cNvPr>
              <p:cNvCxnSpPr>
                <a:stCxn id="51" idx="6"/>
              </p:cNvCxnSpPr>
              <p:nvPr/>
            </p:nvCxnSpPr>
            <p:spPr>
              <a:xfrm>
                <a:off x="1634810" y="4138493"/>
                <a:ext cx="460330" cy="64132"/>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9" name="Straight Connector 65">
                <a:extLst>
                  <a:ext uri="{FF2B5EF4-FFF2-40B4-BE49-F238E27FC236}">
                    <a16:creationId xmlns:a16="http://schemas.microsoft.com/office/drawing/2014/main" id="{AA657A22-B3BF-4AB9-ABDA-1627011F6441}"/>
                  </a:ext>
                </a:extLst>
              </p:cNvPr>
              <p:cNvCxnSpPr/>
              <p:nvPr/>
            </p:nvCxnSpPr>
            <p:spPr>
              <a:xfrm flipV="1">
                <a:off x="1726680" y="4520452"/>
                <a:ext cx="411367" cy="214004"/>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6">
                <a:extLst>
                  <a:ext uri="{FF2B5EF4-FFF2-40B4-BE49-F238E27FC236}">
                    <a16:creationId xmlns:a16="http://schemas.microsoft.com/office/drawing/2014/main" id="{BA4A3C12-9C2D-4F36-BA75-D5F9EA9FE74F}"/>
                  </a:ext>
                </a:extLst>
              </p:cNvPr>
              <p:cNvCxnSpPr>
                <a:stCxn id="66" idx="0"/>
              </p:cNvCxnSpPr>
              <p:nvPr/>
            </p:nvCxnSpPr>
            <p:spPr>
              <a:xfrm flipH="1" flipV="1">
                <a:off x="2717301" y="4711148"/>
                <a:ext cx="239697" cy="387789"/>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Straight Connector 67">
                <a:extLst>
                  <a:ext uri="{FF2B5EF4-FFF2-40B4-BE49-F238E27FC236}">
                    <a16:creationId xmlns:a16="http://schemas.microsoft.com/office/drawing/2014/main" id="{7D659035-9A65-478D-9807-7EEF9FF535CD}"/>
                  </a:ext>
                </a:extLst>
              </p:cNvPr>
              <p:cNvCxnSpPr>
                <a:stCxn id="42" idx="4"/>
              </p:cNvCxnSpPr>
              <p:nvPr/>
            </p:nvCxnSpPr>
            <p:spPr>
              <a:xfrm>
                <a:off x="2551091" y="3469177"/>
                <a:ext cx="0" cy="424920"/>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68">
                <a:extLst>
                  <a:ext uri="{FF2B5EF4-FFF2-40B4-BE49-F238E27FC236}">
                    <a16:creationId xmlns:a16="http://schemas.microsoft.com/office/drawing/2014/main" id="{CB7EB6FF-C20A-4AE4-A5F5-8D4282D65E16}"/>
                  </a:ext>
                </a:extLst>
              </p:cNvPr>
              <p:cNvCxnSpPr>
                <a:stCxn id="65" idx="0"/>
              </p:cNvCxnSpPr>
              <p:nvPr/>
            </p:nvCxnSpPr>
            <p:spPr>
              <a:xfrm flipV="1">
                <a:off x="2145185" y="4711148"/>
                <a:ext cx="239698" cy="387789"/>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69">
                <a:extLst>
                  <a:ext uri="{FF2B5EF4-FFF2-40B4-BE49-F238E27FC236}">
                    <a16:creationId xmlns:a16="http://schemas.microsoft.com/office/drawing/2014/main" id="{7E60774A-8879-4084-A4CD-AD375ADB27A5}"/>
                  </a:ext>
                </a:extLst>
              </p:cNvPr>
              <p:cNvCxnSpPr/>
              <p:nvPr/>
            </p:nvCxnSpPr>
            <p:spPr>
              <a:xfrm flipH="1" flipV="1">
                <a:off x="2952043" y="4520452"/>
                <a:ext cx="411367" cy="214004"/>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4" name="Straight Connector 70">
                <a:extLst>
                  <a:ext uri="{FF2B5EF4-FFF2-40B4-BE49-F238E27FC236}">
                    <a16:creationId xmlns:a16="http://schemas.microsoft.com/office/drawing/2014/main" id="{72AD884A-0260-4A39-8F69-6FCECF47619D}"/>
                  </a:ext>
                </a:extLst>
              </p:cNvPr>
              <p:cNvCxnSpPr/>
              <p:nvPr/>
            </p:nvCxnSpPr>
            <p:spPr>
              <a:xfrm flipH="1">
                <a:off x="3008529" y="4138493"/>
                <a:ext cx="460330" cy="64132"/>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1">
                <a:extLst>
                  <a:ext uri="{FF2B5EF4-FFF2-40B4-BE49-F238E27FC236}">
                    <a16:creationId xmlns:a16="http://schemas.microsoft.com/office/drawing/2014/main" id="{6615EB91-EC78-4D76-BF50-8ADB29A2A616}"/>
                  </a:ext>
                </a:extLst>
              </p:cNvPr>
              <p:cNvCxnSpPr/>
              <p:nvPr/>
            </p:nvCxnSpPr>
            <p:spPr>
              <a:xfrm>
                <a:off x="1919890" y="3670603"/>
                <a:ext cx="325426" cy="316880"/>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2">
                <a:extLst>
                  <a:ext uri="{FF2B5EF4-FFF2-40B4-BE49-F238E27FC236}">
                    <a16:creationId xmlns:a16="http://schemas.microsoft.com/office/drawing/2014/main" id="{FED460F7-3C3B-4357-8D32-90F7D00EFC17}"/>
                  </a:ext>
                </a:extLst>
              </p:cNvPr>
              <p:cNvCxnSpPr/>
              <p:nvPr/>
            </p:nvCxnSpPr>
            <p:spPr>
              <a:xfrm flipH="1">
                <a:off x="2828928" y="3670602"/>
                <a:ext cx="321852" cy="312602"/>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7" name="Arc 73">
                <a:extLst>
                  <a:ext uri="{FF2B5EF4-FFF2-40B4-BE49-F238E27FC236}">
                    <a16:creationId xmlns:a16="http://schemas.microsoft.com/office/drawing/2014/main" id="{764ABB9E-5668-4021-8925-148903482279}"/>
                  </a:ext>
                </a:extLst>
              </p:cNvPr>
              <p:cNvSpPr/>
              <p:nvPr/>
            </p:nvSpPr>
            <p:spPr>
              <a:xfrm>
                <a:off x="2082316" y="3891128"/>
                <a:ext cx="937549" cy="854723"/>
              </a:xfrm>
              <a:prstGeom prst="arc">
                <a:avLst>
                  <a:gd name="adj1" fmla="val 17770647"/>
                  <a:gd name="adj2" fmla="val 16197810"/>
                </a:avLst>
              </a:prstGeom>
              <a:noFill/>
              <a:ln w="12700" cap="rnd">
                <a:solidFill>
                  <a:schemeClr val="accent5"/>
                </a:solidFill>
                <a:prstDash val="solid"/>
                <a:round/>
                <a:headEnd/>
                <a:tailEnd/>
              </a:ln>
            </p:spPr>
            <p:txBody>
              <a:bodyPr vert="horz" wrap="square" lIns="112512" tIns="56256" rIns="112512" bIns="56256" numCol="1" anchor="t" anchorCtr="0" compatLnSpc="1">
                <a:prstTxWarp prst="textNoShape">
                  <a:avLst/>
                </a:prstTxWarp>
              </a:bodyPr>
              <a:lstStyle/>
              <a:p>
                <a:endParaRPr lang="en-GB" sz="1722" dirty="0">
                  <a:latin typeface="Arial" charset="0"/>
                  <a:cs typeface="Arial" charset="0"/>
                </a:endParaRPr>
              </a:p>
            </p:txBody>
          </p:sp>
        </p:grpSp>
        <p:grpSp>
          <p:nvGrpSpPr>
            <p:cNvPr id="8" name="Group 122">
              <a:extLst>
                <a:ext uri="{FF2B5EF4-FFF2-40B4-BE49-F238E27FC236}">
                  <a16:creationId xmlns:a16="http://schemas.microsoft.com/office/drawing/2014/main" id="{E669D6B9-F088-445B-8D2E-1CB8E4CBB4BA}"/>
                </a:ext>
              </a:extLst>
            </p:cNvPr>
            <p:cNvGrpSpPr/>
            <p:nvPr/>
          </p:nvGrpSpPr>
          <p:grpSpPr>
            <a:xfrm>
              <a:off x="1852367" y="966829"/>
              <a:ext cx="1247311" cy="801383"/>
              <a:chOff x="-1789589" y="1718968"/>
              <a:chExt cx="1247311" cy="801383"/>
            </a:xfrm>
          </p:grpSpPr>
          <p:sp>
            <p:nvSpPr>
              <p:cNvPr id="11" name="Rectangle 123">
                <a:extLst>
                  <a:ext uri="{FF2B5EF4-FFF2-40B4-BE49-F238E27FC236}">
                    <a16:creationId xmlns:a16="http://schemas.microsoft.com/office/drawing/2014/main" id="{32931AAA-187B-4E6E-90A4-8C7E422443AC}"/>
                  </a:ext>
                </a:extLst>
              </p:cNvPr>
              <p:cNvSpPr/>
              <p:nvPr/>
            </p:nvSpPr>
            <p:spPr bwMode="auto">
              <a:xfrm>
                <a:off x="-1789589" y="1718968"/>
                <a:ext cx="1247311" cy="801383"/>
              </a:xfrm>
              <a:prstGeom prst="rect">
                <a:avLst/>
              </a:prstGeom>
              <a:solidFill>
                <a:schemeClr val="bg1"/>
              </a:solidFill>
              <a:ln w="6350" cap="flat" cmpd="sng" algn="ctr">
                <a:solidFill>
                  <a:schemeClr val="accent5">
                    <a:lumMod val="50000"/>
                  </a:schemeClr>
                </a:solidFill>
                <a:prstDash val="solid"/>
                <a:round/>
                <a:headEnd type="none" w="med" len="med"/>
                <a:tailEnd type="none" w="med" len="med"/>
              </a:ln>
              <a:effectLst/>
            </p:spPr>
            <p:txBody>
              <a:bodyPr vert="horz" wrap="none" lIns="121888" tIns="60944" rIns="121888" bIns="60944"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133" b="1" dirty="0">
                  <a:solidFill>
                    <a:schemeClr val="bg2">
                      <a:lumMod val="50000"/>
                    </a:schemeClr>
                  </a:solidFill>
                  <a:cs typeface="Arial" charset="0"/>
                </a:endParaRPr>
              </a:p>
            </p:txBody>
          </p:sp>
          <p:grpSp>
            <p:nvGrpSpPr>
              <p:cNvPr id="12" name="Groupe 562">
                <a:extLst>
                  <a:ext uri="{FF2B5EF4-FFF2-40B4-BE49-F238E27FC236}">
                    <a16:creationId xmlns:a16="http://schemas.microsoft.com/office/drawing/2014/main" id="{D5BA43BF-7FE3-4830-8090-ED238C6ACE53}"/>
                  </a:ext>
                </a:extLst>
              </p:cNvPr>
              <p:cNvGrpSpPr/>
              <p:nvPr/>
            </p:nvGrpSpPr>
            <p:grpSpPr>
              <a:xfrm>
                <a:off x="-1711683" y="1776413"/>
                <a:ext cx="376238" cy="288925"/>
                <a:chOff x="393701" y="2703513"/>
                <a:chExt cx="376238" cy="288925"/>
              </a:xfrm>
            </p:grpSpPr>
            <p:sp>
              <p:nvSpPr>
                <p:cNvPr id="31" name="Freeform 167">
                  <a:extLst>
                    <a:ext uri="{FF2B5EF4-FFF2-40B4-BE49-F238E27FC236}">
                      <a16:creationId xmlns:a16="http://schemas.microsoft.com/office/drawing/2014/main" id="{01493AAE-654A-4A69-853C-7FC9F91E275F}"/>
                    </a:ext>
                  </a:extLst>
                </p:cNvPr>
                <p:cNvSpPr>
                  <a:spLocks/>
                </p:cNvSpPr>
                <p:nvPr/>
              </p:nvSpPr>
              <p:spPr bwMode="auto">
                <a:xfrm>
                  <a:off x="393701" y="2751138"/>
                  <a:ext cx="314325" cy="190500"/>
                </a:xfrm>
                <a:custGeom>
                  <a:avLst/>
                  <a:gdLst/>
                  <a:ahLst/>
                  <a:cxnLst>
                    <a:cxn ang="0">
                      <a:pos x="0" y="99"/>
                    </a:cxn>
                    <a:cxn ang="0">
                      <a:pos x="0" y="0"/>
                    </a:cxn>
                    <a:cxn ang="0">
                      <a:pos x="162" y="0"/>
                    </a:cxn>
                    <a:cxn ang="0">
                      <a:pos x="162" y="99"/>
                    </a:cxn>
                    <a:cxn ang="0">
                      <a:pos x="17" y="99"/>
                    </a:cxn>
                  </a:cxnLst>
                  <a:rect l="0" t="0" r="r" b="b"/>
                  <a:pathLst>
                    <a:path w="162" h="99">
                      <a:moveTo>
                        <a:pt x="0" y="99"/>
                      </a:moveTo>
                      <a:cubicBezTo>
                        <a:pt x="0" y="66"/>
                        <a:pt x="0" y="32"/>
                        <a:pt x="0" y="0"/>
                      </a:cubicBezTo>
                      <a:cubicBezTo>
                        <a:pt x="162" y="0"/>
                        <a:pt x="162" y="0"/>
                        <a:pt x="162" y="0"/>
                      </a:cubicBezTo>
                      <a:cubicBezTo>
                        <a:pt x="162" y="99"/>
                        <a:pt x="162" y="99"/>
                        <a:pt x="162" y="99"/>
                      </a:cubicBezTo>
                      <a:cubicBezTo>
                        <a:pt x="17" y="99"/>
                        <a:pt x="17" y="99"/>
                        <a:pt x="17" y="99"/>
                      </a:cubicBez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2" name="Freeform 168">
                  <a:extLst>
                    <a:ext uri="{FF2B5EF4-FFF2-40B4-BE49-F238E27FC236}">
                      <a16:creationId xmlns:a16="http://schemas.microsoft.com/office/drawing/2014/main" id="{7DAE9403-7C64-45AF-A30E-46061E46D520}"/>
                    </a:ext>
                  </a:extLst>
                </p:cNvPr>
                <p:cNvSpPr>
                  <a:spLocks/>
                </p:cNvSpPr>
                <p:nvPr/>
              </p:nvSpPr>
              <p:spPr bwMode="auto">
                <a:xfrm>
                  <a:off x="479426" y="2703513"/>
                  <a:ext cx="82550" cy="22225"/>
                </a:xfrm>
                <a:custGeom>
                  <a:avLst/>
                  <a:gdLst/>
                  <a:ahLst/>
                  <a:cxnLst>
                    <a:cxn ang="0">
                      <a:pos x="0" y="14"/>
                    </a:cxn>
                    <a:cxn ang="0">
                      <a:pos x="2" y="0"/>
                    </a:cxn>
                    <a:cxn ang="0">
                      <a:pos x="52" y="14"/>
                    </a:cxn>
                  </a:cxnLst>
                  <a:rect l="0" t="0" r="r" b="b"/>
                  <a:pathLst>
                    <a:path w="52" h="14">
                      <a:moveTo>
                        <a:pt x="0" y="14"/>
                      </a:moveTo>
                      <a:lnTo>
                        <a:pt x="2" y="0"/>
                      </a:lnTo>
                      <a:lnTo>
                        <a:pt x="52" y="14"/>
                      </a:ln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3" name="Freeform 169">
                  <a:extLst>
                    <a:ext uri="{FF2B5EF4-FFF2-40B4-BE49-F238E27FC236}">
                      <a16:creationId xmlns:a16="http://schemas.microsoft.com/office/drawing/2014/main" id="{C1451B15-94A7-4E70-B635-D5F5BE54E52E}"/>
                    </a:ext>
                  </a:extLst>
                </p:cNvPr>
                <p:cNvSpPr>
                  <a:spLocks/>
                </p:cNvSpPr>
                <p:nvPr/>
              </p:nvSpPr>
              <p:spPr bwMode="auto">
                <a:xfrm>
                  <a:off x="604839" y="2798763"/>
                  <a:ext cx="165100" cy="193675"/>
                </a:xfrm>
                <a:custGeom>
                  <a:avLst/>
                  <a:gdLst/>
                  <a:ahLst/>
                  <a:cxnLst>
                    <a:cxn ang="0">
                      <a:pos x="80" y="0"/>
                    </a:cxn>
                    <a:cxn ang="0">
                      <a:pos x="104" y="6"/>
                    </a:cxn>
                    <a:cxn ang="0">
                      <a:pos x="76" y="122"/>
                    </a:cxn>
                    <a:cxn ang="0">
                      <a:pos x="0" y="103"/>
                    </a:cxn>
                  </a:cxnLst>
                  <a:rect l="0" t="0" r="r" b="b"/>
                  <a:pathLst>
                    <a:path w="104" h="122">
                      <a:moveTo>
                        <a:pt x="80" y="0"/>
                      </a:moveTo>
                      <a:lnTo>
                        <a:pt x="104" y="6"/>
                      </a:lnTo>
                      <a:lnTo>
                        <a:pt x="76" y="122"/>
                      </a:lnTo>
                      <a:lnTo>
                        <a:pt x="0" y="103"/>
                      </a:ln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4" name="Line 170">
                  <a:extLst>
                    <a:ext uri="{FF2B5EF4-FFF2-40B4-BE49-F238E27FC236}">
                      <a16:creationId xmlns:a16="http://schemas.microsoft.com/office/drawing/2014/main" id="{76FBE0F1-F40A-4D11-8DAB-4692E516C1F1}"/>
                    </a:ext>
                  </a:extLst>
                </p:cNvPr>
                <p:cNvSpPr>
                  <a:spLocks noChangeShapeType="1"/>
                </p:cNvSpPr>
                <p:nvPr/>
              </p:nvSpPr>
              <p:spPr bwMode="auto">
                <a:xfrm>
                  <a:off x="587376" y="2886076"/>
                  <a:ext cx="30163" cy="1588"/>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5" name="Line 171">
                  <a:extLst>
                    <a:ext uri="{FF2B5EF4-FFF2-40B4-BE49-F238E27FC236}">
                      <a16:creationId xmlns:a16="http://schemas.microsoft.com/office/drawing/2014/main" id="{FE93B588-B397-4EF2-8309-84BE56A6D5FE}"/>
                    </a:ext>
                  </a:extLst>
                </p:cNvPr>
                <p:cNvSpPr>
                  <a:spLocks noChangeShapeType="1"/>
                </p:cNvSpPr>
                <p:nvPr/>
              </p:nvSpPr>
              <p:spPr bwMode="auto">
                <a:xfrm>
                  <a:off x="444501" y="2801938"/>
                  <a:ext cx="228600" cy="1588"/>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6" name="Line 172">
                  <a:extLst>
                    <a:ext uri="{FF2B5EF4-FFF2-40B4-BE49-F238E27FC236}">
                      <a16:creationId xmlns:a16="http://schemas.microsoft.com/office/drawing/2014/main" id="{DC25B993-8A3A-4747-9EBE-EFBE73D4D5E5}"/>
                    </a:ext>
                  </a:extLst>
                </p:cNvPr>
                <p:cNvSpPr>
                  <a:spLocks noChangeShapeType="1"/>
                </p:cNvSpPr>
                <p:nvPr/>
              </p:nvSpPr>
              <p:spPr bwMode="auto">
                <a:xfrm>
                  <a:off x="444501" y="2825751"/>
                  <a:ext cx="142875" cy="1588"/>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7" name="Line 173">
                  <a:extLst>
                    <a:ext uri="{FF2B5EF4-FFF2-40B4-BE49-F238E27FC236}">
                      <a16:creationId xmlns:a16="http://schemas.microsoft.com/office/drawing/2014/main" id="{38B8A727-C539-424C-ADFD-3FD30F943C1E}"/>
                    </a:ext>
                  </a:extLst>
                </p:cNvPr>
                <p:cNvSpPr>
                  <a:spLocks noChangeShapeType="1"/>
                </p:cNvSpPr>
                <p:nvPr/>
              </p:nvSpPr>
              <p:spPr bwMode="auto">
                <a:xfrm>
                  <a:off x="587376" y="2919413"/>
                  <a:ext cx="57150" cy="1588"/>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8" name="Line 174">
                  <a:extLst>
                    <a:ext uri="{FF2B5EF4-FFF2-40B4-BE49-F238E27FC236}">
                      <a16:creationId xmlns:a16="http://schemas.microsoft.com/office/drawing/2014/main" id="{6D01236A-9621-48E7-8F1B-51DD1D873E60}"/>
                    </a:ext>
                  </a:extLst>
                </p:cNvPr>
                <p:cNvSpPr>
                  <a:spLocks noChangeShapeType="1"/>
                </p:cNvSpPr>
                <p:nvPr/>
              </p:nvSpPr>
              <p:spPr bwMode="auto">
                <a:xfrm>
                  <a:off x="587376" y="2901951"/>
                  <a:ext cx="57150" cy="1588"/>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grpSp>
          <p:grpSp>
            <p:nvGrpSpPr>
              <p:cNvPr id="13" name="Groupe 563">
                <a:extLst>
                  <a:ext uri="{FF2B5EF4-FFF2-40B4-BE49-F238E27FC236}">
                    <a16:creationId xmlns:a16="http://schemas.microsoft.com/office/drawing/2014/main" id="{6076E477-17E5-42CC-AC6A-32381E6E583D}"/>
                  </a:ext>
                </a:extLst>
              </p:cNvPr>
              <p:cNvGrpSpPr/>
              <p:nvPr/>
            </p:nvGrpSpPr>
            <p:grpSpPr>
              <a:xfrm>
                <a:off x="-1295400" y="1736725"/>
                <a:ext cx="358775" cy="298450"/>
                <a:chOff x="963614" y="2693988"/>
                <a:chExt cx="358775" cy="298450"/>
              </a:xfrm>
            </p:grpSpPr>
            <p:sp>
              <p:nvSpPr>
                <p:cNvPr id="28" name="Freeform 175">
                  <a:extLst>
                    <a:ext uri="{FF2B5EF4-FFF2-40B4-BE49-F238E27FC236}">
                      <a16:creationId xmlns:a16="http://schemas.microsoft.com/office/drawing/2014/main" id="{8FBA6980-37C2-4BFD-9D13-BE12F36D95B6}"/>
                    </a:ext>
                  </a:extLst>
                </p:cNvPr>
                <p:cNvSpPr>
                  <a:spLocks/>
                </p:cNvSpPr>
                <p:nvPr/>
              </p:nvSpPr>
              <p:spPr bwMode="auto">
                <a:xfrm>
                  <a:off x="963614" y="2751138"/>
                  <a:ext cx="358775" cy="241300"/>
                </a:xfrm>
                <a:custGeom>
                  <a:avLst/>
                  <a:gdLst/>
                  <a:ahLst/>
                  <a:cxnLst>
                    <a:cxn ang="0">
                      <a:pos x="187" y="65"/>
                    </a:cxn>
                    <a:cxn ang="0">
                      <a:pos x="15" y="31"/>
                    </a:cxn>
                    <a:cxn ang="0">
                      <a:pos x="21" y="0"/>
                    </a:cxn>
                    <a:cxn ang="0">
                      <a:pos x="102" y="14"/>
                    </a:cxn>
                    <a:cxn ang="0">
                      <a:pos x="99" y="26"/>
                    </a:cxn>
                    <a:cxn ang="0">
                      <a:pos x="143" y="35"/>
                    </a:cxn>
                    <a:cxn ang="0">
                      <a:pos x="145" y="23"/>
                    </a:cxn>
                    <a:cxn ang="0">
                      <a:pos x="226" y="39"/>
                    </a:cxn>
                    <a:cxn ang="0">
                      <a:pos x="204" y="152"/>
                    </a:cxn>
                    <a:cxn ang="0">
                      <a:pos x="0" y="113"/>
                    </a:cxn>
                    <a:cxn ang="0">
                      <a:pos x="12" y="48"/>
                    </a:cxn>
                  </a:cxnLst>
                  <a:rect l="0" t="0" r="r" b="b"/>
                  <a:pathLst>
                    <a:path w="226" h="152">
                      <a:moveTo>
                        <a:pt x="187" y="65"/>
                      </a:moveTo>
                      <a:lnTo>
                        <a:pt x="15" y="31"/>
                      </a:lnTo>
                      <a:lnTo>
                        <a:pt x="21" y="0"/>
                      </a:lnTo>
                      <a:lnTo>
                        <a:pt x="102" y="14"/>
                      </a:lnTo>
                      <a:lnTo>
                        <a:pt x="99" y="26"/>
                      </a:lnTo>
                      <a:lnTo>
                        <a:pt x="143" y="35"/>
                      </a:lnTo>
                      <a:lnTo>
                        <a:pt x="145" y="23"/>
                      </a:lnTo>
                      <a:lnTo>
                        <a:pt x="226" y="39"/>
                      </a:lnTo>
                      <a:lnTo>
                        <a:pt x="204" y="152"/>
                      </a:lnTo>
                      <a:lnTo>
                        <a:pt x="0" y="113"/>
                      </a:lnTo>
                      <a:lnTo>
                        <a:pt x="12" y="48"/>
                      </a:ln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9" name="Freeform 176">
                  <a:extLst>
                    <a:ext uri="{FF2B5EF4-FFF2-40B4-BE49-F238E27FC236}">
                      <a16:creationId xmlns:a16="http://schemas.microsoft.com/office/drawing/2014/main" id="{7EDD4FAD-36B2-4882-999A-466052F4257D}"/>
                    </a:ext>
                  </a:extLst>
                </p:cNvPr>
                <p:cNvSpPr>
                  <a:spLocks/>
                </p:cNvSpPr>
                <p:nvPr/>
              </p:nvSpPr>
              <p:spPr bwMode="auto">
                <a:xfrm>
                  <a:off x="1141414" y="2693988"/>
                  <a:ext cx="31750" cy="84138"/>
                </a:xfrm>
                <a:custGeom>
                  <a:avLst/>
                  <a:gdLst/>
                  <a:ahLst/>
                  <a:cxnLst>
                    <a:cxn ang="0">
                      <a:pos x="0" y="0"/>
                    </a:cxn>
                    <a:cxn ang="0">
                      <a:pos x="20" y="0"/>
                    </a:cxn>
                    <a:cxn ang="0">
                      <a:pos x="20" y="53"/>
                    </a:cxn>
                    <a:cxn ang="0">
                      <a:pos x="0" y="53"/>
                    </a:cxn>
                    <a:cxn ang="0">
                      <a:pos x="0" y="14"/>
                    </a:cxn>
                  </a:cxnLst>
                  <a:rect l="0" t="0" r="r" b="b"/>
                  <a:pathLst>
                    <a:path w="20" h="53">
                      <a:moveTo>
                        <a:pt x="0" y="0"/>
                      </a:moveTo>
                      <a:lnTo>
                        <a:pt x="20" y="0"/>
                      </a:lnTo>
                      <a:lnTo>
                        <a:pt x="20" y="53"/>
                      </a:lnTo>
                      <a:lnTo>
                        <a:pt x="0" y="53"/>
                      </a:lnTo>
                      <a:lnTo>
                        <a:pt x="0" y="14"/>
                      </a:ln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30" name="Line 177">
                  <a:extLst>
                    <a:ext uri="{FF2B5EF4-FFF2-40B4-BE49-F238E27FC236}">
                      <a16:creationId xmlns:a16="http://schemas.microsoft.com/office/drawing/2014/main" id="{75684CE2-7837-4B6D-B9C6-0D645B20504F}"/>
                    </a:ext>
                  </a:extLst>
                </p:cNvPr>
                <p:cNvSpPr>
                  <a:spLocks noChangeShapeType="1"/>
                </p:cNvSpPr>
                <p:nvPr/>
              </p:nvSpPr>
              <p:spPr bwMode="auto">
                <a:xfrm>
                  <a:off x="1141414" y="2713038"/>
                  <a:ext cx="14288" cy="4763"/>
                </a:xfrm>
                <a:prstGeom prst="line">
                  <a:avLst/>
                </a:pr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grpSp>
          <p:grpSp>
            <p:nvGrpSpPr>
              <p:cNvPr id="14" name="Groupe 572">
                <a:extLst>
                  <a:ext uri="{FF2B5EF4-FFF2-40B4-BE49-F238E27FC236}">
                    <a16:creationId xmlns:a16="http://schemas.microsoft.com/office/drawing/2014/main" id="{4AD4EE12-CF91-478F-9A2A-1A7F40D55B6D}"/>
                  </a:ext>
                </a:extLst>
              </p:cNvPr>
              <p:cNvGrpSpPr/>
              <p:nvPr/>
            </p:nvGrpSpPr>
            <p:grpSpPr>
              <a:xfrm>
                <a:off x="-979576" y="2026603"/>
                <a:ext cx="301625" cy="330200"/>
                <a:chOff x="365126" y="3684588"/>
                <a:chExt cx="301625" cy="330200"/>
              </a:xfrm>
            </p:grpSpPr>
            <p:sp>
              <p:nvSpPr>
                <p:cNvPr id="25" name="Freeform 378">
                  <a:extLst>
                    <a:ext uri="{FF2B5EF4-FFF2-40B4-BE49-F238E27FC236}">
                      <a16:creationId xmlns:a16="http://schemas.microsoft.com/office/drawing/2014/main" id="{1EDA3ACA-FD73-4618-825D-B7BBC054E339}"/>
                    </a:ext>
                  </a:extLst>
                </p:cNvPr>
                <p:cNvSpPr>
                  <a:spLocks noEditPoints="1"/>
                </p:cNvSpPr>
                <p:nvPr/>
              </p:nvSpPr>
              <p:spPr bwMode="auto">
                <a:xfrm>
                  <a:off x="365126" y="3684588"/>
                  <a:ext cx="301625" cy="330200"/>
                </a:xfrm>
                <a:custGeom>
                  <a:avLst/>
                  <a:gdLst/>
                  <a:ahLst/>
                  <a:cxnLst>
                    <a:cxn ang="0">
                      <a:pos x="117" y="0"/>
                    </a:cxn>
                    <a:cxn ang="0">
                      <a:pos x="117" y="43"/>
                    </a:cxn>
                    <a:cxn ang="0">
                      <a:pos x="40" y="0"/>
                    </a:cxn>
                    <a:cxn ang="0">
                      <a:pos x="40" y="43"/>
                    </a:cxn>
                    <a:cxn ang="0">
                      <a:pos x="21" y="16"/>
                    </a:cxn>
                    <a:cxn ang="0">
                      <a:pos x="136" y="16"/>
                    </a:cxn>
                    <a:cxn ang="0">
                      <a:pos x="156" y="36"/>
                    </a:cxn>
                    <a:cxn ang="0">
                      <a:pos x="156" y="150"/>
                    </a:cxn>
                    <a:cxn ang="0">
                      <a:pos x="136" y="171"/>
                    </a:cxn>
                    <a:cxn ang="0">
                      <a:pos x="21" y="171"/>
                    </a:cxn>
                    <a:cxn ang="0">
                      <a:pos x="0" y="150"/>
                    </a:cxn>
                    <a:cxn ang="0">
                      <a:pos x="0" y="36"/>
                    </a:cxn>
                  </a:cxnLst>
                  <a:rect l="0" t="0" r="r" b="b"/>
                  <a:pathLst>
                    <a:path w="156" h="171">
                      <a:moveTo>
                        <a:pt x="117" y="0"/>
                      </a:moveTo>
                      <a:cubicBezTo>
                        <a:pt x="117" y="43"/>
                        <a:pt x="117" y="43"/>
                        <a:pt x="117" y="43"/>
                      </a:cubicBezTo>
                      <a:moveTo>
                        <a:pt x="40" y="0"/>
                      </a:moveTo>
                      <a:cubicBezTo>
                        <a:pt x="40" y="43"/>
                        <a:pt x="40" y="43"/>
                        <a:pt x="40" y="43"/>
                      </a:cubicBezTo>
                      <a:moveTo>
                        <a:pt x="21" y="16"/>
                      </a:moveTo>
                      <a:cubicBezTo>
                        <a:pt x="136" y="16"/>
                        <a:pt x="136" y="16"/>
                        <a:pt x="136" y="16"/>
                      </a:cubicBezTo>
                      <a:cubicBezTo>
                        <a:pt x="147" y="16"/>
                        <a:pt x="156" y="25"/>
                        <a:pt x="156" y="36"/>
                      </a:cubicBezTo>
                      <a:cubicBezTo>
                        <a:pt x="156" y="150"/>
                        <a:pt x="156" y="150"/>
                        <a:pt x="156" y="150"/>
                      </a:cubicBezTo>
                      <a:cubicBezTo>
                        <a:pt x="156" y="161"/>
                        <a:pt x="147" y="171"/>
                        <a:pt x="136" y="171"/>
                      </a:cubicBezTo>
                      <a:cubicBezTo>
                        <a:pt x="21" y="171"/>
                        <a:pt x="21" y="171"/>
                        <a:pt x="21" y="171"/>
                      </a:cubicBezTo>
                      <a:cubicBezTo>
                        <a:pt x="10" y="171"/>
                        <a:pt x="0" y="161"/>
                        <a:pt x="0" y="150"/>
                      </a:cubicBezTo>
                      <a:cubicBezTo>
                        <a:pt x="0" y="36"/>
                        <a:pt x="0" y="36"/>
                        <a:pt x="0" y="36"/>
                      </a:cubicBez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6" name="Freeform 379">
                  <a:extLst>
                    <a:ext uri="{FF2B5EF4-FFF2-40B4-BE49-F238E27FC236}">
                      <a16:creationId xmlns:a16="http://schemas.microsoft.com/office/drawing/2014/main" id="{F1887AD9-48C0-40AF-962B-871BC026F074}"/>
                    </a:ext>
                  </a:extLst>
                </p:cNvPr>
                <p:cNvSpPr>
                  <a:spLocks/>
                </p:cNvSpPr>
                <p:nvPr/>
              </p:nvSpPr>
              <p:spPr bwMode="auto">
                <a:xfrm>
                  <a:off x="412751" y="3795713"/>
                  <a:ext cx="68263" cy="149225"/>
                </a:xfrm>
                <a:custGeom>
                  <a:avLst/>
                  <a:gdLst/>
                  <a:ahLst/>
                  <a:cxnLst>
                    <a:cxn ang="0">
                      <a:pos x="19" y="27"/>
                    </a:cxn>
                    <a:cxn ang="0">
                      <a:pos x="5" y="27"/>
                    </a:cxn>
                    <a:cxn ang="0">
                      <a:pos x="0" y="22"/>
                    </a:cxn>
                    <a:cxn ang="0">
                      <a:pos x="7" y="16"/>
                    </a:cxn>
                    <a:cxn ang="0">
                      <a:pos x="11" y="15"/>
                    </a:cxn>
                    <a:cxn ang="0">
                      <a:pos x="29" y="0"/>
                    </a:cxn>
                    <a:cxn ang="0">
                      <a:pos x="35" y="7"/>
                    </a:cxn>
                    <a:cxn ang="0">
                      <a:pos x="35" y="68"/>
                    </a:cxn>
                    <a:cxn ang="0">
                      <a:pos x="27" y="77"/>
                    </a:cxn>
                    <a:cxn ang="0">
                      <a:pos x="19" y="68"/>
                    </a:cxn>
                    <a:cxn ang="0">
                      <a:pos x="19" y="27"/>
                    </a:cxn>
                  </a:cxnLst>
                  <a:rect l="0" t="0" r="r" b="b"/>
                  <a:pathLst>
                    <a:path w="35" h="77">
                      <a:moveTo>
                        <a:pt x="19" y="27"/>
                      </a:moveTo>
                      <a:cubicBezTo>
                        <a:pt x="5" y="27"/>
                        <a:pt x="5" y="27"/>
                        <a:pt x="5" y="27"/>
                      </a:cubicBezTo>
                      <a:cubicBezTo>
                        <a:pt x="2" y="27"/>
                        <a:pt x="0" y="26"/>
                        <a:pt x="0" y="22"/>
                      </a:cubicBezTo>
                      <a:cubicBezTo>
                        <a:pt x="0" y="18"/>
                        <a:pt x="2" y="17"/>
                        <a:pt x="7" y="16"/>
                      </a:cubicBezTo>
                      <a:cubicBezTo>
                        <a:pt x="11" y="15"/>
                        <a:pt x="11" y="15"/>
                        <a:pt x="11" y="15"/>
                      </a:cubicBezTo>
                      <a:cubicBezTo>
                        <a:pt x="23" y="12"/>
                        <a:pt x="20" y="0"/>
                        <a:pt x="29" y="0"/>
                      </a:cubicBezTo>
                      <a:cubicBezTo>
                        <a:pt x="32" y="0"/>
                        <a:pt x="35" y="2"/>
                        <a:pt x="35" y="7"/>
                      </a:cubicBezTo>
                      <a:cubicBezTo>
                        <a:pt x="35" y="68"/>
                        <a:pt x="35" y="68"/>
                        <a:pt x="35" y="68"/>
                      </a:cubicBezTo>
                      <a:cubicBezTo>
                        <a:pt x="35" y="74"/>
                        <a:pt x="33" y="77"/>
                        <a:pt x="27" y="77"/>
                      </a:cubicBezTo>
                      <a:cubicBezTo>
                        <a:pt x="21" y="77"/>
                        <a:pt x="19" y="74"/>
                        <a:pt x="19" y="68"/>
                      </a:cubicBezTo>
                      <a:cubicBezTo>
                        <a:pt x="19" y="27"/>
                        <a:pt x="19" y="27"/>
                        <a:pt x="19" y="27"/>
                      </a:cubicBezTo>
                    </a:path>
                  </a:pathLst>
                </a:cu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7" name="Freeform 380">
                  <a:extLst>
                    <a:ext uri="{FF2B5EF4-FFF2-40B4-BE49-F238E27FC236}">
                      <a16:creationId xmlns:a16="http://schemas.microsoft.com/office/drawing/2014/main" id="{FCE9AF95-80E4-4D04-9763-2B9FFF6A03C9}"/>
                    </a:ext>
                  </a:extLst>
                </p:cNvPr>
                <p:cNvSpPr>
                  <a:spLocks noEditPoints="1"/>
                </p:cNvSpPr>
                <p:nvPr/>
              </p:nvSpPr>
              <p:spPr bwMode="auto">
                <a:xfrm>
                  <a:off x="503238" y="3795713"/>
                  <a:ext cx="117475" cy="149225"/>
                </a:xfrm>
                <a:custGeom>
                  <a:avLst/>
                  <a:gdLst/>
                  <a:ahLst/>
                  <a:cxnLst>
                    <a:cxn ang="0">
                      <a:pos x="35" y="19"/>
                    </a:cxn>
                    <a:cxn ang="0">
                      <a:pos x="34" y="19"/>
                    </a:cxn>
                    <a:cxn ang="0">
                      <a:pos x="14" y="47"/>
                    </a:cxn>
                    <a:cxn ang="0">
                      <a:pos x="35" y="47"/>
                    </a:cxn>
                    <a:cxn ang="0">
                      <a:pos x="35" y="19"/>
                    </a:cxn>
                    <a:cxn ang="0">
                      <a:pos x="35" y="59"/>
                    </a:cxn>
                    <a:cxn ang="0">
                      <a:pos x="8" y="59"/>
                    </a:cxn>
                    <a:cxn ang="0">
                      <a:pos x="0" y="52"/>
                    </a:cxn>
                    <a:cxn ang="0">
                      <a:pos x="2" y="45"/>
                    </a:cxn>
                    <a:cxn ang="0">
                      <a:pos x="35" y="3"/>
                    </a:cxn>
                    <a:cxn ang="0">
                      <a:pos x="41" y="0"/>
                    </a:cxn>
                    <a:cxn ang="0">
                      <a:pos x="49" y="8"/>
                    </a:cxn>
                    <a:cxn ang="0">
                      <a:pos x="49" y="47"/>
                    </a:cxn>
                    <a:cxn ang="0">
                      <a:pos x="55" y="47"/>
                    </a:cxn>
                    <a:cxn ang="0">
                      <a:pos x="61" y="53"/>
                    </a:cxn>
                    <a:cxn ang="0">
                      <a:pos x="55" y="59"/>
                    </a:cxn>
                    <a:cxn ang="0">
                      <a:pos x="49" y="59"/>
                    </a:cxn>
                    <a:cxn ang="0">
                      <a:pos x="49" y="70"/>
                    </a:cxn>
                    <a:cxn ang="0">
                      <a:pos x="42" y="77"/>
                    </a:cxn>
                    <a:cxn ang="0">
                      <a:pos x="35" y="70"/>
                    </a:cxn>
                    <a:cxn ang="0">
                      <a:pos x="35" y="59"/>
                    </a:cxn>
                  </a:cxnLst>
                  <a:rect l="0" t="0" r="r" b="b"/>
                  <a:pathLst>
                    <a:path w="61" h="77">
                      <a:moveTo>
                        <a:pt x="35" y="19"/>
                      </a:moveTo>
                      <a:cubicBezTo>
                        <a:pt x="34" y="19"/>
                        <a:pt x="34" y="19"/>
                        <a:pt x="34" y="19"/>
                      </a:cubicBezTo>
                      <a:cubicBezTo>
                        <a:pt x="14" y="47"/>
                        <a:pt x="14" y="47"/>
                        <a:pt x="14" y="47"/>
                      </a:cubicBezTo>
                      <a:cubicBezTo>
                        <a:pt x="35" y="47"/>
                        <a:pt x="35" y="47"/>
                        <a:pt x="35" y="47"/>
                      </a:cubicBezTo>
                      <a:lnTo>
                        <a:pt x="35" y="19"/>
                      </a:lnTo>
                      <a:close/>
                      <a:moveTo>
                        <a:pt x="35" y="59"/>
                      </a:moveTo>
                      <a:cubicBezTo>
                        <a:pt x="8" y="59"/>
                        <a:pt x="8" y="59"/>
                        <a:pt x="8" y="59"/>
                      </a:cubicBezTo>
                      <a:cubicBezTo>
                        <a:pt x="2" y="59"/>
                        <a:pt x="0" y="55"/>
                        <a:pt x="0" y="52"/>
                      </a:cubicBezTo>
                      <a:cubicBezTo>
                        <a:pt x="0" y="49"/>
                        <a:pt x="0" y="47"/>
                        <a:pt x="2" y="45"/>
                      </a:cubicBezTo>
                      <a:cubicBezTo>
                        <a:pt x="35" y="3"/>
                        <a:pt x="35" y="3"/>
                        <a:pt x="35" y="3"/>
                      </a:cubicBezTo>
                      <a:cubicBezTo>
                        <a:pt x="36" y="1"/>
                        <a:pt x="38" y="0"/>
                        <a:pt x="41" y="0"/>
                      </a:cubicBezTo>
                      <a:cubicBezTo>
                        <a:pt x="47" y="0"/>
                        <a:pt x="49" y="3"/>
                        <a:pt x="49" y="8"/>
                      </a:cubicBezTo>
                      <a:cubicBezTo>
                        <a:pt x="49" y="47"/>
                        <a:pt x="49" y="47"/>
                        <a:pt x="49" y="47"/>
                      </a:cubicBezTo>
                      <a:cubicBezTo>
                        <a:pt x="55" y="47"/>
                        <a:pt x="55" y="47"/>
                        <a:pt x="55" y="47"/>
                      </a:cubicBezTo>
                      <a:cubicBezTo>
                        <a:pt x="58" y="47"/>
                        <a:pt x="61" y="49"/>
                        <a:pt x="61" y="53"/>
                      </a:cubicBezTo>
                      <a:cubicBezTo>
                        <a:pt x="61" y="56"/>
                        <a:pt x="58" y="59"/>
                        <a:pt x="55" y="59"/>
                      </a:cubicBezTo>
                      <a:cubicBezTo>
                        <a:pt x="49" y="59"/>
                        <a:pt x="49" y="59"/>
                        <a:pt x="49" y="59"/>
                      </a:cubicBezTo>
                      <a:cubicBezTo>
                        <a:pt x="49" y="70"/>
                        <a:pt x="49" y="70"/>
                        <a:pt x="49" y="70"/>
                      </a:cubicBezTo>
                      <a:cubicBezTo>
                        <a:pt x="49" y="74"/>
                        <a:pt x="48" y="77"/>
                        <a:pt x="42" y="77"/>
                      </a:cubicBezTo>
                      <a:cubicBezTo>
                        <a:pt x="36" y="77"/>
                        <a:pt x="35" y="74"/>
                        <a:pt x="35" y="70"/>
                      </a:cubicBezTo>
                      <a:cubicBezTo>
                        <a:pt x="35" y="59"/>
                        <a:pt x="35" y="59"/>
                        <a:pt x="35" y="59"/>
                      </a:cubicBezTo>
                    </a:path>
                  </a:pathLst>
                </a:cu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grpSp>
          <p:grpSp>
            <p:nvGrpSpPr>
              <p:cNvPr id="15" name="Groupe 656">
                <a:extLst>
                  <a:ext uri="{FF2B5EF4-FFF2-40B4-BE49-F238E27FC236}">
                    <a16:creationId xmlns:a16="http://schemas.microsoft.com/office/drawing/2014/main" id="{ABE46389-AB92-46C6-A9E9-092F4D7AD017}"/>
                  </a:ext>
                </a:extLst>
              </p:cNvPr>
              <p:cNvGrpSpPr/>
              <p:nvPr/>
            </p:nvGrpSpPr>
            <p:grpSpPr>
              <a:xfrm>
                <a:off x="-1526309" y="2058988"/>
                <a:ext cx="488713" cy="400553"/>
                <a:chOff x="4795838" y="2000250"/>
                <a:chExt cx="404813" cy="331788"/>
              </a:xfrm>
            </p:grpSpPr>
            <p:sp>
              <p:nvSpPr>
                <p:cNvPr id="16" name="Freeform 299">
                  <a:extLst>
                    <a:ext uri="{FF2B5EF4-FFF2-40B4-BE49-F238E27FC236}">
                      <a16:creationId xmlns:a16="http://schemas.microsoft.com/office/drawing/2014/main" id="{A9089902-05D2-48B7-9819-09FC30CDEF82}"/>
                    </a:ext>
                  </a:extLst>
                </p:cNvPr>
                <p:cNvSpPr>
                  <a:spLocks/>
                </p:cNvSpPr>
                <p:nvPr/>
              </p:nvSpPr>
              <p:spPr bwMode="auto">
                <a:xfrm>
                  <a:off x="4795838" y="2057400"/>
                  <a:ext cx="215900" cy="274638"/>
                </a:xfrm>
                <a:custGeom>
                  <a:avLst/>
                  <a:gdLst/>
                  <a:ahLst/>
                  <a:cxnLst>
                    <a:cxn ang="0">
                      <a:pos x="84" y="142"/>
                    </a:cxn>
                    <a:cxn ang="0">
                      <a:pos x="4" y="142"/>
                    </a:cxn>
                    <a:cxn ang="0">
                      <a:pos x="0" y="138"/>
                    </a:cxn>
                    <a:cxn ang="0">
                      <a:pos x="0" y="4"/>
                    </a:cxn>
                    <a:cxn ang="0">
                      <a:pos x="4" y="0"/>
                    </a:cxn>
                    <a:cxn ang="0">
                      <a:pos x="107" y="0"/>
                    </a:cxn>
                    <a:cxn ang="0">
                      <a:pos x="111" y="4"/>
                    </a:cxn>
                    <a:cxn ang="0">
                      <a:pos x="111" y="112"/>
                    </a:cxn>
                    <a:cxn ang="0">
                      <a:pos x="84" y="142"/>
                    </a:cxn>
                  </a:cxnLst>
                  <a:rect l="0" t="0" r="r" b="b"/>
                  <a:pathLst>
                    <a:path w="111" h="142">
                      <a:moveTo>
                        <a:pt x="84" y="142"/>
                      </a:moveTo>
                      <a:cubicBezTo>
                        <a:pt x="4" y="142"/>
                        <a:pt x="4" y="142"/>
                        <a:pt x="4" y="142"/>
                      </a:cubicBezTo>
                      <a:cubicBezTo>
                        <a:pt x="2" y="142"/>
                        <a:pt x="0" y="140"/>
                        <a:pt x="0" y="138"/>
                      </a:cubicBezTo>
                      <a:cubicBezTo>
                        <a:pt x="0" y="4"/>
                        <a:pt x="0" y="4"/>
                        <a:pt x="0" y="4"/>
                      </a:cubicBezTo>
                      <a:cubicBezTo>
                        <a:pt x="0" y="2"/>
                        <a:pt x="2" y="0"/>
                        <a:pt x="4" y="0"/>
                      </a:cubicBezTo>
                      <a:cubicBezTo>
                        <a:pt x="107" y="0"/>
                        <a:pt x="107" y="0"/>
                        <a:pt x="107" y="0"/>
                      </a:cubicBezTo>
                      <a:cubicBezTo>
                        <a:pt x="109" y="0"/>
                        <a:pt x="111" y="2"/>
                        <a:pt x="111" y="4"/>
                      </a:cubicBezTo>
                      <a:cubicBezTo>
                        <a:pt x="111" y="112"/>
                        <a:pt x="111" y="112"/>
                        <a:pt x="111" y="112"/>
                      </a:cubicBezTo>
                      <a:lnTo>
                        <a:pt x="84" y="142"/>
                      </a:lnTo>
                      <a:close/>
                    </a:path>
                  </a:pathLst>
                </a:cu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17" name="Freeform 300">
                  <a:extLst>
                    <a:ext uri="{FF2B5EF4-FFF2-40B4-BE49-F238E27FC236}">
                      <a16:creationId xmlns:a16="http://schemas.microsoft.com/office/drawing/2014/main" id="{768662CE-885E-46D3-9F50-4AE4134E657B}"/>
                    </a:ext>
                  </a:extLst>
                </p:cNvPr>
                <p:cNvSpPr>
                  <a:spLocks/>
                </p:cNvSpPr>
                <p:nvPr/>
              </p:nvSpPr>
              <p:spPr bwMode="auto">
                <a:xfrm>
                  <a:off x="4862513" y="2243138"/>
                  <a:ext cx="80963" cy="49213"/>
                </a:xfrm>
                <a:custGeom>
                  <a:avLst/>
                  <a:gdLst/>
                  <a:ahLst/>
                  <a:cxnLst>
                    <a:cxn ang="0">
                      <a:pos x="0" y="20"/>
                    </a:cxn>
                    <a:cxn ang="0">
                      <a:pos x="12" y="31"/>
                    </a:cxn>
                    <a:cxn ang="0">
                      <a:pos x="51" y="0"/>
                    </a:cxn>
                  </a:cxnLst>
                  <a:rect l="0" t="0" r="r" b="b"/>
                  <a:pathLst>
                    <a:path w="51" h="31">
                      <a:moveTo>
                        <a:pt x="0" y="20"/>
                      </a:moveTo>
                      <a:lnTo>
                        <a:pt x="12" y="31"/>
                      </a:lnTo>
                      <a:lnTo>
                        <a:pt x="51" y="0"/>
                      </a:lnTo>
                    </a:path>
                  </a:pathLst>
                </a:cu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18" name="Line 301">
                  <a:extLst>
                    <a:ext uri="{FF2B5EF4-FFF2-40B4-BE49-F238E27FC236}">
                      <a16:creationId xmlns:a16="http://schemas.microsoft.com/office/drawing/2014/main" id="{3B4A041D-AB05-4A68-97A3-2D5AF26F9724}"/>
                    </a:ext>
                  </a:extLst>
                </p:cNvPr>
                <p:cNvSpPr>
                  <a:spLocks noChangeShapeType="1"/>
                </p:cNvSpPr>
                <p:nvPr/>
              </p:nvSpPr>
              <p:spPr bwMode="auto">
                <a:xfrm>
                  <a:off x="4838701" y="2101850"/>
                  <a:ext cx="115888" cy="1588"/>
                </a:xfrm>
                <a:prstGeom prst="line">
                  <a:avLst/>
                </a:pr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19" name="Line 302">
                  <a:extLst>
                    <a:ext uri="{FF2B5EF4-FFF2-40B4-BE49-F238E27FC236}">
                      <a16:creationId xmlns:a16="http://schemas.microsoft.com/office/drawing/2014/main" id="{B58D3394-4008-47DC-B171-43542BB59628}"/>
                    </a:ext>
                  </a:extLst>
                </p:cNvPr>
                <p:cNvSpPr>
                  <a:spLocks noChangeShapeType="1"/>
                </p:cNvSpPr>
                <p:nvPr/>
              </p:nvSpPr>
              <p:spPr bwMode="auto">
                <a:xfrm>
                  <a:off x="4838701" y="2136775"/>
                  <a:ext cx="115888" cy="1588"/>
                </a:xfrm>
                <a:prstGeom prst="line">
                  <a:avLst/>
                </a:pr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0" name="Line 303">
                  <a:extLst>
                    <a:ext uri="{FF2B5EF4-FFF2-40B4-BE49-F238E27FC236}">
                      <a16:creationId xmlns:a16="http://schemas.microsoft.com/office/drawing/2014/main" id="{B7157B59-6C8E-4A3C-9CB4-7CE1147651C6}"/>
                    </a:ext>
                  </a:extLst>
                </p:cNvPr>
                <p:cNvSpPr>
                  <a:spLocks noChangeShapeType="1"/>
                </p:cNvSpPr>
                <p:nvPr/>
              </p:nvSpPr>
              <p:spPr bwMode="auto">
                <a:xfrm>
                  <a:off x="4838701" y="2173288"/>
                  <a:ext cx="115888" cy="1588"/>
                </a:xfrm>
                <a:prstGeom prst="line">
                  <a:avLst/>
                </a:pr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1" name="Line 304">
                  <a:extLst>
                    <a:ext uri="{FF2B5EF4-FFF2-40B4-BE49-F238E27FC236}">
                      <a16:creationId xmlns:a16="http://schemas.microsoft.com/office/drawing/2014/main" id="{BC36C8CE-DD19-4894-B333-EBF6BCD871D9}"/>
                    </a:ext>
                  </a:extLst>
                </p:cNvPr>
                <p:cNvSpPr>
                  <a:spLocks noChangeShapeType="1"/>
                </p:cNvSpPr>
                <p:nvPr/>
              </p:nvSpPr>
              <p:spPr bwMode="auto">
                <a:xfrm>
                  <a:off x="4838701" y="2214563"/>
                  <a:ext cx="68263" cy="1588"/>
                </a:xfrm>
                <a:prstGeom prst="line">
                  <a:avLst/>
                </a:pr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2" name="Freeform 305">
                  <a:extLst>
                    <a:ext uri="{FF2B5EF4-FFF2-40B4-BE49-F238E27FC236}">
                      <a16:creationId xmlns:a16="http://schemas.microsoft.com/office/drawing/2014/main" id="{52AD7415-B5DE-4F47-B5B2-2861F99A9523}"/>
                    </a:ext>
                  </a:extLst>
                </p:cNvPr>
                <p:cNvSpPr>
                  <a:spLocks/>
                </p:cNvSpPr>
                <p:nvPr/>
              </p:nvSpPr>
              <p:spPr bwMode="auto">
                <a:xfrm>
                  <a:off x="4956176" y="2268538"/>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3" name="Line 306">
                  <a:extLst>
                    <a:ext uri="{FF2B5EF4-FFF2-40B4-BE49-F238E27FC236}">
                      <a16:creationId xmlns:a16="http://schemas.microsoft.com/office/drawing/2014/main" id="{8F0E2E09-45D6-41B9-9EA6-0CA3BEE7F216}"/>
                    </a:ext>
                  </a:extLst>
                </p:cNvPr>
                <p:cNvSpPr>
                  <a:spLocks noChangeShapeType="1"/>
                </p:cNvSpPr>
                <p:nvPr/>
              </p:nvSpPr>
              <p:spPr bwMode="auto">
                <a:xfrm>
                  <a:off x="4851401" y="2057400"/>
                  <a:ext cx="103188" cy="1588"/>
                </a:xfrm>
                <a:prstGeom prst="line">
                  <a:avLst/>
                </a:prstGeom>
                <a:noFill/>
                <a:ln w="12700" cap="flat">
                  <a:solidFill>
                    <a:schemeClr val="accent5">
                      <a:lumMod val="50000"/>
                    </a:schemeClr>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sp>
              <p:nvSpPr>
                <p:cNvPr id="24" name="Freeform 307">
                  <a:extLst>
                    <a:ext uri="{FF2B5EF4-FFF2-40B4-BE49-F238E27FC236}">
                      <a16:creationId xmlns:a16="http://schemas.microsoft.com/office/drawing/2014/main" id="{67AAFC0A-7C18-4877-843C-388954995C77}"/>
                    </a:ext>
                  </a:extLst>
                </p:cNvPr>
                <p:cNvSpPr>
                  <a:spLocks/>
                </p:cNvSpPr>
                <p:nvPr/>
              </p:nvSpPr>
              <p:spPr bwMode="auto">
                <a:xfrm>
                  <a:off x="5013326" y="2000250"/>
                  <a:ext cx="187325" cy="274638"/>
                </a:xfrm>
                <a:custGeom>
                  <a:avLst/>
                  <a:gdLst/>
                  <a:ahLst/>
                  <a:cxnLst>
                    <a:cxn ang="0">
                      <a:pos x="97" y="141"/>
                    </a:cxn>
                    <a:cxn ang="0">
                      <a:pos x="56" y="60"/>
                    </a:cxn>
                    <a:cxn ang="0">
                      <a:pos x="70" y="32"/>
                    </a:cxn>
                    <a:cxn ang="0">
                      <a:pos x="45" y="0"/>
                    </a:cxn>
                    <a:cxn ang="0">
                      <a:pos x="19" y="32"/>
                    </a:cxn>
                    <a:cxn ang="0">
                      <a:pos x="33" y="60"/>
                    </a:cxn>
                    <a:cxn ang="0">
                      <a:pos x="0" y="93"/>
                    </a:cxn>
                  </a:cxnLst>
                  <a:rect l="0" t="0" r="r" b="b"/>
                  <a:pathLst>
                    <a:path w="97" h="141">
                      <a:moveTo>
                        <a:pt x="97" y="141"/>
                      </a:moveTo>
                      <a:cubicBezTo>
                        <a:pt x="97" y="102"/>
                        <a:pt x="86" y="69"/>
                        <a:pt x="56" y="60"/>
                      </a:cubicBezTo>
                      <a:cubicBezTo>
                        <a:pt x="62" y="54"/>
                        <a:pt x="70" y="43"/>
                        <a:pt x="70" y="32"/>
                      </a:cubicBezTo>
                      <a:cubicBezTo>
                        <a:pt x="70" y="13"/>
                        <a:pt x="59" y="0"/>
                        <a:pt x="45" y="0"/>
                      </a:cubicBezTo>
                      <a:cubicBezTo>
                        <a:pt x="30" y="0"/>
                        <a:pt x="19" y="13"/>
                        <a:pt x="19" y="32"/>
                      </a:cubicBezTo>
                      <a:cubicBezTo>
                        <a:pt x="19" y="43"/>
                        <a:pt x="27" y="54"/>
                        <a:pt x="33" y="60"/>
                      </a:cubicBezTo>
                      <a:cubicBezTo>
                        <a:pt x="17" y="65"/>
                        <a:pt x="6" y="77"/>
                        <a:pt x="0" y="93"/>
                      </a:cubicBezTo>
                    </a:path>
                  </a:pathLst>
                </a:custGeom>
                <a:noFill/>
                <a:ln w="12700" cap="rnd">
                  <a:solidFill>
                    <a:schemeClr val="accent5">
                      <a:lumMod val="50000"/>
                    </a:schemeClr>
                  </a:solidFill>
                  <a:prstDash val="solid"/>
                  <a:round/>
                  <a:headEnd/>
                  <a:tailEnd/>
                </a:ln>
              </p:spPr>
              <p:txBody>
                <a:bodyPr vert="horz" wrap="square" lIns="121888" tIns="60944" rIns="121888" bIns="60944" numCol="1" anchor="t" anchorCtr="0" compatLnSpc="1">
                  <a:prstTxWarp prst="textNoShape">
                    <a:avLst/>
                  </a:prstTxWarp>
                </a:bodyPr>
                <a:lstStyle/>
                <a:p>
                  <a:endParaRPr lang="en-US" sz="933">
                    <a:latin typeface="Arial" pitchFamily="34" charset="0"/>
                    <a:cs typeface="Arial" pitchFamily="34" charset="0"/>
                  </a:endParaRPr>
                </a:p>
              </p:txBody>
            </p:sp>
          </p:grpSp>
        </p:grpSp>
        <p:sp>
          <p:nvSpPr>
            <p:cNvPr id="9" name="Rectangle 151">
              <a:extLst>
                <a:ext uri="{FF2B5EF4-FFF2-40B4-BE49-F238E27FC236}">
                  <a16:creationId xmlns:a16="http://schemas.microsoft.com/office/drawing/2014/main" id="{EE9989B0-DC47-410A-8D57-7DC7022DA70C}"/>
                </a:ext>
              </a:extLst>
            </p:cNvPr>
            <p:cNvSpPr/>
            <p:nvPr/>
          </p:nvSpPr>
          <p:spPr bwMode="auto">
            <a:xfrm>
              <a:off x="1771267" y="884238"/>
              <a:ext cx="5509645" cy="3903956"/>
            </a:xfrm>
            <a:prstGeom prst="rect">
              <a:avLst/>
            </a:prstGeom>
            <a:no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380905" indent="-380905" eaLnBrk="0" fontAlgn="base" hangingPunct="0">
                <a:lnSpc>
                  <a:spcPct val="85000"/>
                </a:lnSpc>
                <a:spcBef>
                  <a:spcPct val="0"/>
                </a:spcBef>
                <a:spcAft>
                  <a:spcPct val="0"/>
                </a:spcAft>
                <a:buFont typeface="Wingdings" panose="05000000000000000000" pitchFamily="2" charset="2"/>
                <a:buChar char="§"/>
              </a:pPr>
              <a:endParaRPr lang="en-US" sz="1733" dirty="0">
                <a:solidFill>
                  <a:schemeClr val="bg2">
                    <a:lumMod val="50000"/>
                  </a:schemeClr>
                </a:solidFill>
                <a:cs typeface="Arial" charset="0"/>
              </a:endParaRPr>
            </a:p>
          </p:txBody>
        </p:sp>
      </p:grpSp>
    </p:spTree>
    <p:extLst>
      <p:ext uri="{BB962C8B-B14F-4D97-AF65-F5344CB8AC3E}">
        <p14:creationId xmlns:p14="http://schemas.microsoft.com/office/powerpoint/2010/main" val="223748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75292BB-7540-4D2D-AC6D-BE8B17CFDF7F}"/>
              </a:ext>
            </a:extLst>
          </p:cNvPr>
          <p:cNvSpPr>
            <a:spLocks noGrp="1"/>
          </p:cNvSpPr>
          <p:nvPr>
            <p:ph type="title"/>
          </p:nvPr>
        </p:nvSpPr>
        <p:spPr/>
        <p:txBody>
          <a:bodyPr/>
          <a:lstStyle/>
          <a:p>
            <a:r>
              <a:rPr lang="nl-NL" dirty="0"/>
              <a:t>De plicht voor de organisatie</a:t>
            </a:r>
          </a:p>
        </p:txBody>
      </p:sp>
      <p:sp>
        <p:nvSpPr>
          <p:cNvPr id="7" name="Tijdelijke aanduiding voor inhoud 6">
            <a:extLst>
              <a:ext uri="{FF2B5EF4-FFF2-40B4-BE49-F238E27FC236}">
                <a16:creationId xmlns:a16="http://schemas.microsoft.com/office/drawing/2014/main" id="{0E3BBA35-69B8-4225-975F-433A3A7F5E8D}"/>
              </a:ext>
            </a:extLst>
          </p:cNvPr>
          <p:cNvSpPr>
            <a:spLocks noGrp="1"/>
          </p:cNvSpPr>
          <p:nvPr>
            <p:ph sz="half" idx="1"/>
          </p:nvPr>
        </p:nvSpPr>
        <p:spPr>
          <a:xfrm>
            <a:off x="419768" y="1825625"/>
            <a:ext cx="5750844" cy="4351339"/>
          </a:xfrm>
        </p:spPr>
        <p:txBody>
          <a:bodyPr/>
          <a:lstStyle/>
          <a:p>
            <a:pPr>
              <a:buFont typeface="Arial" panose="020B0604020202020204" pitchFamily="34" charset="0"/>
              <a:buChar char="•"/>
            </a:pPr>
            <a:r>
              <a:rPr lang="nl-NL" dirty="0"/>
              <a:t>Bewustwording faciliteren</a:t>
            </a:r>
          </a:p>
          <a:p>
            <a:pPr>
              <a:buFont typeface="Arial" panose="020B0604020202020204" pitchFamily="34" charset="0"/>
              <a:buChar char="•"/>
            </a:pPr>
            <a:r>
              <a:rPr lang="nl-NL" dirty="0"/>
              <a:t>Zorgdragen voor data </a:t>
            </a:r>
            <a:r>
              <a:rPr lang="nl-NL" dirty="0" err="1"/>
              <a:t>protection</a:t>
            </a:r>
            <a:r>
              <a:rPr lang="nl-NL" dirty="0"/>
              <a:t> </a:t>
            </a:r>
            <a:r>
              <a:rPr lang="nl-NL" dirty="0" err="1"/>
              <a:t>cq</a:t>
            </a:r>
            <a:r>
              <a:rPr lang="nl-NL" dirty="0"/>
              <a:t>. privacy </a:t>
            </a:r>
            <a:r>
              <a:rPr lang="nl-NL" dirty="0" err="1"/>
              <a:t>officers</a:t>
            </a:r>
            <a:endParaRPr lang="nl-NL" dirty="0"/>
          </a:p>
          <a:p>
            <a:pPr>
              <a:buFont typeface="Arial" panose="020B0604020202020204" pitchFamily="34" charset="0"/>
              <a:buChar char="•"/>
            </a:pPr>
            <a:r>
              <a:rPr lang="nl-NL" dirty="0"/>
              <a:t>Binnen 72 uur een </a:t>
            </a:r>
            <a:r>
              <a:rPr lang="nl-NL" dirty="0" err="1"/>
              <a:t>datalek</a:t>
            </a:r>
            <a:r>
              <a:rPr lang="nl-NL" dirty="0"/>
              <a:t> rapporteren</a:t>
            </a:r>
          </a:p>
          <a:p>
            <a:pPr>
              <a:buFont typeface="Arial" panose="020B0604020202020204" pitchFamily="34" charset="0"/>
              <a:buChar char="•"/>
            </a:pPr>
            <a:r>
              <a:rPr lang="nl-NL" dirty="0"/>
              <a:t>Aantoonbaar (audit)  processen gebruiken om te voldoen aan de regelgeving</a:t>
            </a:r>
          </a:p>
          <a:p>
            <a:pPr>
              <a:buFont typeface="Arial" panose="020B0604020202020204" pitchFamily="34" charset="0"/>
              <a:buChar char="•"/>
            </a:pPr>
            <a:r>
              <a:rPr lang="nl-NL" dirty="0"/>
              <a:t>Classificeren van alle bestaande informatie</a:t>
            </a:r>
          </a:p>
          <a:p>
            <a:pPr>
              <a:buFont typeface="Arial" panose="020B0604020202020204" pitchFamily="34" charset="0"/>
              <a:buChar char="•"/>
            </a:pPr>
            <a:r>
              <a:rPr lang="nl-NL" dirty="0"/>
              <a:t>Ervoor zorgen dat bestaande platformen compliant worden</a:t>
            </a:r>
          </a:p>
        </p:txBody>
      </p:sp>
      <p:sp>
        <p:nvSpPr>
          <p:cNvPr id="2" name="Tijdelijke aanduiding voor dianummer 1">
            <a:extLst>
              <a:ext uri="{FF2B5EF4-FFF2-40B4-BE49-F238E27FC236}">
                <a16:creationId xmlns:a16="http://schemas.microsoft.com/office/drawing/2014/main" id="{BAD52E51-A064-44FA-8FBA-694C8171B4BE}"/>
              </a:ext>
            </a:extLst>
          </p:cNvPr>
          <p:cNvSpPr>
            <a:spLocks noGrp="1"/>
          </p:cNvSpPr>
          <p:nvPr>
            <p:ph type="sldNum" sz="quarter" idx="4294967295"/>
          </p:nvPr>
        </p:nvSpPr>
        <p:spPr>
          <a:xfrm>
            <a:off x="11899900" y="6143625"/>
            <a:ext cx="288925" cy="257175"/>
          </a:xfrm>
        </p:spPr>
        <p:txBody>
          <a:bodyPr/>
          <a:lstStyle/>
          <a:p>
            <a:fld id="{4EACBA47-91FC-4F0F-98EF-AF8B449ABA17}" type="slidenum">
              <a:rPr lang="nl-NL" noProof="0" smtClean="0"/>
              <a:pPr/>
              <a:t>5</a:t>
            </a:fld>
            <a:endParaRPr lang="nl-NL" noProof="0"/>
          </a:p>
        </p:txBody>
      </p:sp>
      <p:pic>
        <p:nvPicPr>
          <p:cNvPr id="10" name="Picture 24">
            <a:extLst>
              <a:ext uri="{FF2B5EF4-FFF2-40B4-BE49-F238E27FC236}">
                <a16:creationId xmlns:a16="http://schemas.microsoft.com/office/drawing/2014/main" id="{A72D76A6-ABFD-4AA2-8892-449985A4B719}"/>
              </a:ext>
            </a:extLst>
          </p:cNvPr>
          <p:cNvPicPr>
            <a:picLocks noGrp="1" noChangeAspect="1"/>
          </p:cNvPicPr>
          <p:nvPr>
            <p:ph sz="half" idx="10"/>
          </p:nvPr>
        </p:nvPicPr>
        <p:blipFill rotWithShape="1">
          <a:blip r:embed="rId3">
            <a:grayscl/>
            <a:extLst>
              <a:ext uri="{28A0092B-C50C-407E-A947-70E740481C1C}">
                <a14:useLocalDpi xmlns:a14="http://schemas.microsoft.com/office/drawing/2010/main" val="0"/>
              </a:ext>
            </a:extLst>
          </a:blip>
          <a:srcRect l="-44" t="-193" r="38916" b="21369"/>
          <a:stretch/>
        </p:blipFill>
        <p:spPr>
          <a:xfrm>
            <a:off x="6557757" y="1834260"/>
            <a:ext cx="5045486" cy="4334068"/>
          </a:xfrm>
          <a:prstGeom prst="rect">
            <a:avLst/>
          </a:prstGeom>
        </p:spPr>
      </p:pic>
      <p:grpSp>
        <p:nvGrpSpPr>
          <p:cNvPr id="11" name="Group 2">
            <a:extLst>
              <a:ext uri="{FF2B5EF4-FFF2-40B4-BE49-F238E27FC236}">
                <a16:creationId xmlns:a16="http://schemas.microsoft.com/office/drawing/2014/main" id="{635B9193-D5F6-498A-8B79-7400B6A40CD8}"/>
              </a:ext>
            </a:extLst>
          </p:cNvPr>
          <p:cNvGrpSpPr/>
          <p:nvPr/>
        </p:nvGrpSpPr>
        <p:grpSpPr>
          <a:xfrm>
            <a:off x="6856412" y="2047736"/>
            <a:ext cx="2551444" cy="2501900"/>
            <a:chOff x="4722812" y="1119346"/>
            <a:chExt cx="2551444" cy="2501900"/>
          </a:xfrm>
        </p:grpSpPr>
        <p:pic>
          <p:nvPicPr>
            <p:cNvPr id="12" name="Picture 56">
              <a:extLst>
                <a:ext uri="{FF2B5EF4-FFF2-40B4-BE49-F238E27FC236}">
                  <a16:creationId xmlns:a16="http://schemas.microsoft.com/office/drawing/2014/main" id="{CA192BEB-CF6B-4771-97E3-55AF9BE10CFA}"/>
                </a:ext>
              </a:extLst>
            </p:cNvPr>
            <p:cNvPicPr>
              <a:picLocks noChangeAspect="1"/>
            </p:cNvPicPr>
            <p:nvPr/>
          </p:nvPicPr>
          <p:blipFill>
            <a:blip r:embed="rId4"/>
            <a:stretch>
              <a:fillRect/>
            </a:stretch>
          </p:blipFill>
          <p:spPr>
            <a:xfrm>
              <a:off x="4722812" y="1119346"/>
              <a:ext cx="2551444" cy="2501900"/>
            </a:xfrm>
            <a:prstGeom prst="rect">
              <a:avLst/>
            </a:prstGeom>
          </p:spPr>
        </p:pic>
        <p:sp>
          <p:nvSpPr>
            <p:cNvPr id="13" name="TextBox 1">
              <a:extLst>
                <a:ext uri="{FF2B5EF4-FFF2-40B4-BE49-F238E27FC236}">
                  <a16:creationId xmlns:a16="http://schemas.microsoft.com/office/drawing/2014/main" id="{B4750A41-9A98-4123-886A-5FB8EEBFC0F6}"/>
                </a:ext>
              </a:extLst>
            </p:cNvPr>
            <p:cNvSpPr txBox="1"/>
            <p:nvPr/>
          </p:nvSpPr>
          <p:spPr>
            <a:xfrm>
              <a:off x="5561012" y="2590800"/>
              <a:ext cx="774571" cy="707886"/>
            </a:xfrm>
            <a:prstGeom prst="rect">
              <a:avLst/>
            </a:prstGeom>
          </p:spPr>
          <p:txBody>
            <a:bodyPr wrap="none" rtlCol="0" anchor="ctr">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nl-NL" sz="4000" b="1" i="1" u="none" strike="noStrike" kern="1200" cap="none" spc="0" normalizeH="0" baseline="0" noProof="0" dirty="0">
                  <a:ln>
                    <a:noFill/>
                  </a:ln>
                  <a:solidFill>
                    <a:srgbClr val="33302E"/>
                  </a:solidFill>
                  <a:effectLst/>
                  <a:uLnTx/>
                  <a:uFillTx/>
                  <a:latin typeface="Segoe UI"/>
                  <a:ea typeface="+mn-ea"/>
                  <a:cs typeface="Bodoni Std Bold Italic"/>
                </a:rPr>
                <a:t>72</a:t>
              </a:r>
            </a:p>
          </p:txBody>
        </p:sp>
      </p:grpSp>
      <p:sp>
        <p:nvSpPr>
          <p:cNvPr id="8" name="Rechthoek 7">
            <a:extLst>
              <a:ext uri="{FF2B5EF4-FFF2-40B4-BE49-F238E27FC236}">
                <a16:creationId xmlns:a16="http://schemas.microsoft.com/office/drawing/2014/main" id="{4AF68B85-9F86-42A0-B9F6-9C491E67C170}"/>
              </a:ext>
            </a:extLst>
          </p:cNvPr>
          <p:cNvSpPr/>
          <p:nvPr/>
        </p:nvSpPr>
        <p:spPr>
          <a:xfrm>
            <a:off x="5826456" y="5854886"/>
            <a:ext cx="3581400" cy="738664"/>
          </a:xfrm>
          <a:prstGeom prst="rect">
            <a:avLst/>
          </a:prstGeom>
        </p:spPr>
        <p:txBody>
          <a:bodyPr wrap="square">
            <a:spAutoFit/>
          </a:bodyPr>
          <a:lstStyle/>
          <a:p>
            <a:pPr lvl="0">
              <a:spcBef>
                <a:spcPts val="1200"/>
              </a:spcBef>
              <a:buClr>
                <a:srgbClr val="0072C6"/>
              </a:buClr>
              <a:buSzPct val="100000"/>
              <a:defRPr/>
            </a:pPr>
            <a:r>
              <a:rPr lang="nl-NL" sz="1400" i="1" dirty="0">
                <a:latin typeface="Segoe UI Semibold" panose="020B0702040204020203" pitchFamily="34" charset="0"/>
                <a:cs typeface="Segoe UI Semibold" panose="020B0702040204020203" pitchFamily="34" charset="0"/>
              </a:rPr>
              <a:t>Geldt voor elke organisatie met meer dan 250 medewerkers welke informatie over EU inwoners verwerkt.</a:t>
            </a:r>
          </a:p>
        </p:txBody>
      </p:sp>
    </p:spTree>
    <p:extLst>
      <p:ext uri="{BB962C8B-B14F-4D97-AF65-F5344CB8AC3E}">
        <p14:creationId xmlns:p14="http://schemas.microsoft.com/office/powerpoint/2010/main" val="155152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COVER">
            <a:extLst>
              <a:ext uri="{FF2B5EF4-FFF2-40B4-BE49-F238E27FC236}">
                <a16:creationId xmlns:a16="http://schemas.microsoft.com/office/drawing/2014/main" id="{3CEA1984-4B02-4D38-A7A7-57CA9BA2FFD9}"/>
              </a:ext>
            </a:extLst>
          </p:cNvPr>
          <p:cNvGrpSpPr/>
          <p:nvPr/>
        </p:nvGrpSpPr>
        <p:grpSpPr>
          <a:xfrm>
            <a:off x="-287" y="5749366"/>
            <a:ext cx="12188825" cy="1107742"/>
            <a:chOff x="-215" y="4312477"/>
            <a:chExt cx="9144000" cy="831023"/>
          </a:xfrm>
        </p:grpSpPr>
        <p:sp>
          <p:nvSpPr>
            <p:cNvPr id="34" name="Rechthoek 33">
              <a:extLst>
                <a:ext uri="{FF2B5EF4-FFF2-40B4-BE49-F238E27FC236}">
                  <a16:creationId xmlns:a16="http://schemas.microsoft.com/office/drawing/2014/main" id="{A0B62498-F16D-4C2A-A6CE-228691E48BCB}"/>
                </a:ext>
              </a:extLst>
            </p:cNvPr>
            <p:cNvSpPr/>
            <p:nvPr/>
          </p:nvSpPr>
          <p:spPr>
            <a:xfrm>
              <a:off x="-215" y="4312477"/>
              <a:ext cx="9144000" cy="831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933"/>
            </a:p>
          </p:txBody>
        </p:sp>
        <p:grpSp>
          <p:nvGrpSpPr>
            <p:cNvPr id="36" name="Group 99">
              <a:extLst>
                <a:ext uri="{FF2B5EF4-FFF2-40B4-BE49-F238E27FC236}">
                  <a16:creationId xmlns:a16="http://schemas.microsoft.com/office/drawing/2014/main" id="{16DC140F-ADDB-4B42-A565-4951B90B1F9E}"/>
                </a:ext>
              </a:extLst>
            </p:cNvPr>
            <p:cNvGrpSpPr/>
            <p:nvPr/>
          </p:nvGrpSpPr>
          <p:grpSpPr bwMode="gray">
            <a:xfrm>
              <a:off x="342002" y="4559215"/>
              <a:ext cx="1109903" cy="241172"/>
              <a:chOff x="2749538" y="2279310"/>
              <a:chExt cx="1479870" cy="321562"/>
            </a:xfrm>
          </p:grpSpPr>
          <p:sp>
            <p:nvSpPr>
              <p:cNvPr id="37" name="Rectangle 100">
                <a:extLst>
                  <a:ext uri="{FF2B5EF4-FFF2-40B4-BE49-F238E27FC236}">
                    <a16:creationId xmlns:a16="http://schemas.microsoft.com/office/drawing/2014/main" id="{F47B9526-A350-4534-A947-71F222E84D7C}"/>
                  </a:ext>
                </a:extLst>
              </p:cNvPr>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38" name="Rectangle 101">
                <a:extLst>
                  <a:ext uri="{FF2B5EF4-FFF2-40B4-BE49-F238E27FC236}">
                    <a16:creationId xmlns:a16="http://schemas.microsoft.com/office/drawing/2014/main" id="{9A2E6B6E-D0C9-4AD7-BBF8-9851CF64F267}"/>
                  </a:ext>
                </a:extLst>
              </p:cNvPr>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39" name="Group 21">
                <a:extLst>
                  <a:ext uri="{FF2B5EF4-FFF2-40B4-BE49-F238E27FC236}">
                    <a16:creationId xmlns:a16="http://schemas.microsoft.com/office/drawing/2014/main" id="{B074BB82-2735-4A0A-A908-CEC374D93417}"/>
                  </a:ext>
                </a:extLst>
              </p:cNvPr>
              <p:cNvGrpSpPr/>
              <p:nvPr/>
            </p:nvGrpSpPr>
            <p:grpSpPr bwMode="gray">
              <a:xfrm>
                <a:off x="3373209" y="2357164"/>
                <a:ext cx="726277" cy="153325"/>
                <a:chOff x="-1490663" y="3248025"/>
                <a:chExt cx="2857501" cy="603250"/>
              </a:xfrm>
            </p:grpSpPr>
            <p:sp>
              <p:nvSpPr>
                <p:cNvPr id="41" name="Freeform 104">
                  <a:extLst>
                    <a:ext uri="{FF2B5EF4-FFF2-40B4-BE49-F238E27FC236}">
                      <a16:creationId xmlns:a16="http://schemas.microsoft.com/office/drawing/2014/main" id="{64D94BB6-96A5-4415-9121-0AB97AA6CC31}"/>
                    </a:ext>
                  </a:extLst>
                </p:cNvPr>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2" name="Freeform 105">
                  <a:extLst>
                    <a:ext uri="{FF2B5EF4-FFF2-40B4-BE49-F238E27FC236}">
                      <a16:creationId xmlns:a16="http://schemas.microsoft.com/office/drawing/2014/main" id="{4CA96623-7BC8-4062-A587-20DDD4431504}"/>
                    </a:ext>
                  </a:extLst>
                </p:cNvPr>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3" name="Freeform 106">
                  <a:extLst>
                    <a:ext uri="{FF2B5EF4-FFF2-40B4-BE49-F238E27FC236}">
                      <a16:creationId xmlns:a16="http://schemas.microsoft.com/office/drawing/2014/main" id="{FE011973-CC95-459C-A28C-547005E724B4}"/>
                    </a:ext>
                  </a:extLst>
                </p:cNvPr>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4" name="Freeform 107">
                  <a:extLst>
                    <a:ext uri="{FF2B5EF4-FFF2-40B4-BE49-F238E27FC236}">
                      <a16:creationId xmlns:a16="http://schemas.microsoft.com/office/drawing/2014/main" id="{05B37B8A-A70D-411D-8FCB-CD56CDF0003A}"/>
                    </a:ext>
                  </a:extLst>
                </p:cNvPr>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5" name="Freeform 108">
                  <a:extLst>
                    <a:ext uri="{FF2B5EF4-FFF2-40B4-BE49-F238E27FC236}">
                      <a16:creationId xmlns:a16="http://schemas.microsoft.com/office/drawing/2014/main" id="{2CED0D95-9CBE-4C23-8758-9604F9E602AC}"/>
                    </a:ext>
                  </a:extLst>
                </p:cNvPr>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6" name="Freeform 109">
                  <a:extLst>
                    <a:ext uri="{FF2B5EF4-FFF2-40B4-BE49-F238E27FC236}">
                      <a16:creationId xmlns:a16="http://schemas.microsoft.com/office/drawing/2014/main" id="{010BAFB4-9E8C-4AA4-AA4C-DFF431B2830F}"/>
                    </a:ext>
                  </a:extLst>
                </p:cNvPr>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sp>
            <p:nvSpPr>
              <p:cNvPr id="40" name="Freeform 13">
                <a:extLst>
                  <a:ext uri="{FF2B5EF4-FFF2-40B4-BE49-F238E27FC236}">
                    <a16:creationId xmlns:a16="http://schemas.microsoft.com/office/drawing/2014/main" id="{9D27FB76-A833-48B3-91B0-35972F2E410D}"/>
                  </a:ext>
                </a:extLst>
              </p:cNvPr>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grpSp>
      <p:sp>
        <p:nvSpPr>
          <p:cNvPr id="47" name="1a">
            <a:extLst>
              <a:ext uri="{FF2B5EF4-FFF2-40B4-BE49-F238E27FC236}">
                <a16:creationId xmlns:a16="http://schemas.microsoft.com/office/drawing/2014/main" id="{0FEA461B-7828-4964-8D6B-38788BE0AE19}"/>
              </a:ext>
            </a:extLst>
          </p:cNvPr>
          <p:cNvSpPr/>
          <p:nvPr/>
        </p:nvSpPr>
        <p:spPr>
          <a:xfrm>
            <a:off x="1338506" y="3471955"/>
            <a:ext cx="343083" cy="34308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b="1" dirty="0">
              <a:solidFill>
                <a:schemeClr val="accent2"/>
              </a:solidFill>
            </a:endParaRPr>
          </a:p>
        </p:txBody>
      </p:sp>
      <p:grpSp>
        <p:nvGrpSpPr>
          <p:cNvPr id="2" name="Group 1">
            <a:extLst>
              <a:ext uri="{FF2B5EF4-FFF2-40B4-BE49-F238E27FC236}">
                <a16:creationId xmlns:a16="http://schemas.microsoft.com/office/drawing/2014/main" id="{3C34D9B2-EF8B-4FB3-8C41-A794D417F536}"/>
              </a:ext>
            </a:extLst>
          </p:cNvPr>
          <p:cNvGrpSpPr/>
          <p:nvPr/>
        </p:nvGrpSpPr>
        <p:grpSpPr>
          <a:xfrm>
            <a:off x="2513012" y="1498717"/>
            <a:ext cx="7346886" cy="5201845"/>
            <a:chOff x="1677160" y="815990"/>
            <a:chExt cx="5511600" cy="3902400"/>
          </a:xfrm>
        </p:grpSpPr>
        <p:sp>
          <p:nvSpPr>
            <p:cNvPr id="19" name="CPTKTBGT12t10z12j0la0tm01b00i00u01f01s01l10"/>
            <p:cNvSpPr txBox="1"/>
            <p:nvPr/>
          </p:nvSpPr>
          <p:spPr bwMode="auto">
            <a:xfrm>
              <a:off x="1677160" y="815990"/>
              <a:ext cx="5511600" cy="3902400"/>
            </a:xfrm>
            <a:prstGeom prst="rect">
              <a:avLst/>
            </a:prstGeom>
            <a:noFill/>
            <a:ln w="6350">
              <a:solidFill>
                <a:srgbClr val="BFBFBF"/>
              </a:solidFill>
              <a:miter lim="800000"/>
              <a:headEnd/>
              <a:tailEnd/>
            </a:ln>
            <a:effectLst/>
          </p:spPr>
          <p:txBody>
            <a:bodyPr vert="horz" wrap="square" lIns="95975" tIns="44222" rIns="95975" bIns="44222" rtlCol="0" anchor="t">
              <a:noAutofit/>
            </a:bodyPr>
            <a:lstStyle/>
            <a:p>
              <a:pPr>
                <a:spcBef>
                  <a:spcPts val="984"/>
                </a:spcBef>
                <a:buClr>
                  <a:schemeClr val="accent2"/>
                </a:buClr>
                <a:buSzPct val="120000"/>
              </a:pPr>
              <a:r>
                <a:rPr lang="en-GB" sz="1600" dirty="0">
                  <a:solidFill>
                    <a:schemeClr val="accent2"/>
                  </a:solidFill>
                  <a:latin typeface="Calibri" pitchFamily="34" charset="0"/>
                  <a:cs typeface="Calibri" pitchFamily="34" charset="0"/>
                </a:rPr>
                <a:t>Sequence of structured operations, </a:t>
              </a:r>
              <a:r>
                <a:rPr lang="en-GB" sz="1600" b="1" dirty="0">
                  <a:solidFill>
                    <a:schemeClr val="accent2"/>
                  </a:solidFill>
                  <a:latin typeface="Calibri" pitchFamily="34" charset="0"/>
                  <a:cs typeface="Calibri" pitchFamily="34" charset="0"/>
                </a:rPr>
                <a:t>manual or automated</a:t>
              </a:r>
              <a:r>
                <a:rPr lang="en-GB" sz="1600" dirty="0">
                  <a:solidFill>
                    <a:schemeClr val="accent2"/>
                  </a:solidFill>
                  <a:latin typeface="Calibri" pitchFamily="34" charset="0"/>
                  <a:cs typeface="Calibri" pitchFamily="34" charset="0"/>
                </a:rPr>
                <a:t>, on Personal Data: </a:t>
              </a:r>
              <a:r>
                <a:rPr lang="en-GB" sz="1600" b="1" dirty="0">
                  <a:solidFill>
                    <a:schemeClr val="accent2"/>
                  </a:solidFill>
                  <a:latin typeface="Calibri" pitchFamily="34" charset="0"/>
                  <a:cs typeface="Calibri" pitchFamily="34" charset="0"/>
                </a:rPr>
                <a:t>consulting, collecting, transferring, destroying, etc. </a:t>
              </a:r>
            </a:p>
            <a:p>
              <a:pPr>
                <a:spcBef>
                  <a:spcPts val="984"/>
                </a:spcBef>
                <a:buClr>
                  <a:schemeClr val="accent2"/>
                </a:buClr>
                <a:buSzPct val="120000"/>
              </a:pPr>
              <a:r>
                <a:rPr lang="en-GB" sz="1600" dirty="0">
                  <a:solidFill>
                    <a:schemeClr val="bg2">
                      <a:lumMod val="50000"/>
                    </a:schemeClr>
                  </a:solidFill>
                  <a:latin typeface="Calibri" pitchFamily="34" charset="0"/>
                  <a:cs typeface="Calibri" pitchFamily="34" charset="0"/>
                </a:rPr>
                <a:t>It involves processes from start to finish: activities, stakeholders, and the means used, whether in the </a:t>
              </a:r>
              <a:r>
                <a:rPr lang="en-GB" sz="1600" b="1" dirty="0">
                  <a:solidFill>
                    <a:schemeClr val="bg2">
                      <a:lumMod val="50000"/>
                    </a:schemeClr>
                  </a:solidFill>
                  <a:latin typeface="Calibri" pitchFamily="34" charset="0"/>
                  <a:cs typeface="Calibri" pitchFamily="34" charset="0"/>
                </a:rPr>
                <a:t>paper, computerized or application format</a:t>
              </a:r>
            </a:p>
            <a:p>
              <a:pPr>
                <a:spcBef>
                  <a:spcPts val="984"/>
                </a:spcBef>
                <a:buClr>
                  <a:schemeClr val="accent2"/>
                </a:buClr>
                <a:buSzPct val="120000"/>
              </a:pPr>
              <a:endParaRPr lang="en-GB" sz="1600" b="1" dirty="0">
                <a:solidFill>
                  <a:schemeClr val="accent2"/>
                </a:solidFill>
                <a:latin typeface="Calibri" pitchFamily="34" charset="0"/>
                <a:cs typeface="Calibri" pitchFamily="34" charset="0"/>
              </a:endParaRPr>
            </a:p>
          </p:txBody>
        </p:sp>
        <p:grpSp>
          <p:nvGrpSpPr>
            <p:cNvPr id="20" name="Group 19"/>
            <p:cNvGrpSpPr/>
            <p:nvPr/>
          </p:nvGrpSpPr>
          <p:grpSpPr>
            <a:xfrm>
              <a:off x="2390512" y="1916656"/>
              <a:ext cx="4075669" cy="2663358"/>
              <a:chOff x="6928537" y="2720723"/>
              <a:chExt cx="4075669" cy="2663358"/>
            </a:xfrm>
          </p:grpSpPr>
          <p:sp>
            <p:nvSpPr>
              <p:cNvPr id="21" name="Rounded Rectangle 20"/>
              <p:cNvSpPr/>
              <p:nvPr/>
            </p:nvSpPr>
            <p:spPr bwMode="auto">
              <a:xfrm>
                <a:off x="7002340" y="3355400"/>
                <a:ext cx="3977912" cy="2028681"/>
              </a:xfrm>
              <a:prstGeom prst="roundRect">
                <a:avLst>
                  <a:gd name="adj" fmla="val 8612"/>
                </a:avLst>
              </a:prstGeom>
              <a:solidFill>
                <a:schemeClr val="bg1"/>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spcBef>
                    <a:spcPts val="492"/>
                  </a:spcBef>
                </a:pPr>
                <a:r>
                  <a:rPr lang="en-GB" sz="1722" b="1" dirty="0">
                    <a:solidFill>
                      <a:schemeClr val="accent5"/>
                    </a:solidFill>
                  </a:rPr>
                  <a:t>Examples of data transfer</a:t>
                </a:r>
              </a:p>
            </p:txBody>
          </p:sp>
          <p:grpSp>
            <p:nvGrpSpPr>
              <p:cNvPr id="22" name="Group 5"/>
              <p:cNvGrpSpPr>
                <a:grpSpLocks/>
              </p:cNvGrpSpPr>
              <p:nvPr/>
            </p:nvGrpSpPr>
            <p:grpSpPr bwMode="auto">
              <a:xfrm>
                <a:off x="9905025" y="4118804"/>
                <a:ext cx="989388" cy="1001294"/>
                <a:chOff x="1745" y="902"/>
                <a:chExt cx="1629" cy="2149"/>
              </a:xfrm>
              <a:solidFill>
                <a:schemeClr val="bg1">
                  <a:lumMod val="75000"/>
                </a:schemeClr>
              </a:solidFill>
            </p:grpSpPr>
            <p:sp>
              <p:nvSpPr>
                <p:cNvPr id="95" name="Freeform 6"/>
                <p:cNvSpPr>
                  <a:spLocks/>
                </p:cNvSpPr>
                <p:nvPr/>
              </p:nvSpPr>
              <p:spPr bwMode="auto">
                <a:xfrm>
                  <a:off x="1862" y="934"/>
                  <a:ext cx="265" cy="240"/>
                </a:xfrm>
                <a:custGeom>
                  <a:avLst/>
                  <a:gdLst/>
                  <a:ahLst/>
                  <a:cxnLst>
                    <a:cxn ang="0">
                      <a:pos x="286" y="16"/>
                    </a:cxn>
                    <a:cxn ang="0">
                      <a:pos x="286" y="95"/>
                    </a:cxn>
                    <a:cxn ang="0">
                      <a:pos x="104" y="239"/>
                    </a:cxn>
                    <a:cxn ang="0">
                      <a:pos x="0" y="223"/>
                    </a:cxn>
                    <a:cxn ang="0">
                      <a:pos x="72" y="167"/>
                    </a:cxn>
                    <a:cxn ang="0">
                      <a:pos x="88" y="111"/>
                    </a:cxn>
                    <a:cxn ang="0">
                      <a:pos x="183" y="0"/>
                    </a:cxn>
                    <a:cxn ang="0">
                      <a:pos x="286" y="16"/>
                    </a:cxn>
                  </a:cxnLst>
                  <a:rect l="0" t="0" r="r" b="b"/>
                  <a:pathLst>
                    <a:path w="287" h="240">
                      <a:moveTo>
                        <a:pt x="286" y="16"/>
                      </a:moveTo>
                      <a:lnTo>
                        <a:pt x="286" y="95"/>
                      </a:lnTo>
                      <a:lnTo>
                        <a:pt x="104" y="239"/>
                      </a:lnTo>
                      <a:lnTo>
                        <a:pt x="0" y="223"/>
                      </a:lnTo>
                      <a:lnTo>
                        <a:pt x="72" y="167"/>
                      </a:lnTo>
                      <a:lnTo>
                        <a:pt x="88" y="111"/>
                      </a:lnTo>
                      <a:lnTo>
                        <a:pt x="183" y="0"/>
                      </a:lnTo>
                      <a:lnTo>
                        <a:pt x="286" y="16"/>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96" name="Freeform 7"/>
                <p:cNvSpPr>
                  <a:spLocks/>
                </p:cNvSpPr>
                <p:nvPr/>
              </p:nvSpPr>
              <p:spPr bwMode="auto">
                <a:xfrm>
                  <a:off x="1759" y="1157"/>
                  <a:ext cx="200" cy="200"/>
                </a:xfrm>
                <a:custGeom>
                  <a:avLst/>
                  <a:gdLst/>
                  <a:ahLst/>
                  <a:cxnLst>
                    <a:cxn ang="0">
                      <a:pos x="80" y="143"/>
                    </a:cxn>
                    <a:cxn ang="0">
                      <a:pos x="127" y="143"/>
                    </a:cxn>
                    <a:cxn ang="0">
                      <a:pos x="143" y="63"/>
                    </a:cxn>
                    <a:cxn ang="0">
                      <a:pos x="199" y="63"/>
                    </a:cxn>
                    <a:cxn ang="0">
                      <a:pos x="215" y="16"/>
                    </a:cxn>
                    <a:cxn ang="0">
                      <a:pos x="111" y="0"/>
                    </a:cxn>
                    <a:cxn ang="0">
                      <a:pos x="8" y="143"/>
                    </a:cxn>
                    <a:cxn ang="0">
                      <a:pos x="0" y="191"/>
                    </a:cxn>
                    <a:cxn ang="0">
                      <a:pos x="80" y="199"/>
                    </a:cxn>
                    <a:cxn ang="0">
                      <a:pos x="80" y="143"/>
                    </a:cxn>
                  </a:cxnLst>
                  <a:rect l="0" t="0" r="r" b="b"/>
                  <a:pathLst>
                    <a:path w="216" h="200">
                      <a:moveTo>
                        <a:pt x="80" y="143"/>
                      </a:moveTo>
                      <a:lnTo>
                        <a:pt x="127" y="143"/>
                      </a:lnTo>
                      <a:lnTo>
                        <a:pt x="143" y="63"/>
                      </a:lnTo>
                      <a:lnTo>
                        <a:pt x="199" y="63"/>
                      </a:lnTo>
                      <a:lnTo>
                        <a:pt x="215" y="16"/>
                      </a:lnTo>
                      <a:lnTo>
                        <a:pt x="111" y="0"/>
                      </a:lnTo>
                      <a:lnTo>
                        <a:pt x="8" y="143"/>
                      </a:lnTo>
                      <a:lnTo>
                        <a:pt x="0" y="191"/>
                      </a:lnTo>
                      <a:lnTo>
                        <a:pt x="80" y="199"/>
                      </a:lnTo>
                      <a:lnTo>
                        <a:pt x="80" y="143"/>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97" name="Freeform 8"/>
                <p:cNvSpPr>
                  <a:spLocks/>
                </p:cNvSpPr>
                <p:nvPr/>
              </p:nvSpPr>
              <p:spPr bwMode="auto">
                <a:xfrm>
                  <a:off x="1759" y="1173"/>
                  <a:ext cx="302" cy="390"/>
                </a:xfrm>
                <a:custGeom>
                  <a:avLst/>
                  <a:gdLst/>
                  <a:ahLst/>
                  <a:cxnLst>
                    <a:cxn ang="0">
                      <a:pos x="286" y="103"/>
                    </a:cxn>
                    <a:cxn ang="0">
                      <a:pos x="326" y="103"/>
                    </a:cxn>
                    <a:cxn ang="0">
                      <a:pos x="215" y="0"/>
                    </a:cxn>
                    <a:cxn ang="0">
                      <a:pos x="199" y="47"/>
                    </a:cxn>
                    <a:cxn ang="0">
                      <a:pos x="143" y="47"/>
                    </a:cxn>
                    <a:cxn ang="0">
                      <a:pos x="127" y="127"/>
                    </a:cxn>
                    <a:cxn ang="0">
                      <a:pos x="80" y="127"/>
                    </a:cxn>
                    <a:cxn ang="0">
                      <a:pos x="80" y="183"/>
                    </a:cxn>
                    <a:cxn ang="0">
                      <a:pos x="0" y="175"/>
                    </a:cxn>
                    <a:cxn ang="0">
                      <a:pos x="0" y="342"/>
                    </a:cxn>
                    <a:cxn ang="0">
                      <a:pos x="80" y="342"/>
                    </a:cxn>
                    <a:cxn ang="0">
                      <a:pos x="111" y="389"/>
                    </a:cxn>
                    <a:cxn ang="0">
                      <a:pos x="143" y="357"/>
                    </a:cxn>
                    <a:cxn ang="0">
                      <a:pos x="286" y="357"/>
                    </a:cxn>
                    <a:cxn ang="0">
                      <a:pos x="294" y="326"/>
                    </a:cxn>
                    <a:cxn ang="0">
                      <a:pos x="286" y="318"/>
                    </a:cxn>
                    <a:cxn ang="0">
                      <a:pos x="286" y="103"/>
                    </a:cxn>
                  </a:cxnLst>
                  <a:rect l="0" t="0" r="r" b="b"/>
                  <a:pathLst>
                    <a:path w="327" h="390">
                      <a:moveTo>
                        <a:pt x="286" y="103"/>
                      </a:moveTo>
                      <a:lnTo>
                        <a:pt x="326" y="103"/>
                      </a:lnTo>
                      <a:lnTo>
                        <a:pt x="215" y="0"/>
                      </a:lnTo>
                      <a:lnTo>
                        <a:pt x="199" y="47"/>
                      </a:lnTo>
                      <a:lnTo>
                        <a:pt x="143" y="47"/>
                      </a:lnTo>
                      <a:lnTo>
                        <a:pt x="127" y="127"/>
                      </a:lnTo>
                      <a:lnTo>
                        <a:pt x="80" y="127"/>
                      </a:lnTo>
                      <a:lnTo>
                        <a:pt x="80" y="183"/>
                      </a:lnTo>
                      <a:lnTo>
                        <a:pt x="0" y="175"/>
                      </a:lnTo>
                      <a:lnTo>
                        <a:pt x="0" y="342"/>
                      </a:lnTo>
                      <a:lnTo>
                        <a:pt x="80" y="342"/>
                      </a:lnTo>
                      <a:lnTo>
                        <a:pt x="111" y="389"/>
                      </a:lnTo>
                      <a:lnTo>
                        <a:pt x="143" y="357"/>
                      </a:lnTo>
                      <a:lnTo>
                        <a:pt x="286" y="357"/>
                      </a:lnTo>
                      <a:lnTo>
                        <a:pt x="294" y="326"/>
                      </a:lnTo>
                      <a:lnTo>
                        <a:pt x="286" y="318"/>
                      </a:lnTo>
                      <a:lnTo>
                        <a:pt x="286" y="103"/>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98" name="Freeform 9"/>
                <p:cNvSpPr>
                  <a:spLocks/>
                </p:cNvSpPr>
                <p:nvPr/>
              </p:nvSpPr>
              <p:spPr bwMode="auto">
                <a:xfrm>
                  <a:off x="1745" y="1515"/>
                  <a:ext cx="133" cy="128"/>
                </a:xfrm>
                <a:custGeom>
                  <a:avLst/>
                  <a:gdLst/>
                  <a:ahLst/>
                  <a:cxnLst>
                    <a:cxn ang="0">
                      <a:pos x="16" y="0"/>
                    </a:cxn>
                    <a:cxn ang="0">
                      <a:pos x="96" y="0"/>
                    </a:cxn>
                    <a:cxn ang="0">
                      <a:pos x="127" y="47"/>
                    </a:cxn>
                    <a:cxn ang="0">
                      <a:pos x="143" y="111"/>
                    </a:cxn>
                    <a:cxn ang="0">
                      <a:pos x="96" y="111"/>
                    </a:cxn>
                    <a:cxn ang="0">
                      <a:pos x="24" y="127"/>
                    </a:cxn>
                    <a:cxn ang="0">
                      <a:pos x="16" y="111"/>
                    </a:cxn>
                    <a:cxn ang="0">
                      <a:pos x="111" y="87"/>
                    </a:cxn>
                    <a:cxn ang="0">
                      <a:pos x="96" y="71"/>
                    </a:cxn>
                    <a:cxn ang="0">
                      <a:pos x="0" y="103"/>
                    </a:cxn>
                    <a:cxn ang="0">
                      <a:pos x="16" y="0"/>
                    </a:cxn>
                  </a:cxnLst>
                  <a:rect l="0" t="0" r="r" b="b"/>
                  <a:pathLst>
                    <a:path w="144" h="128">
                      <a:moveTo>
                        <a:pt x="16" y="0"/>
                      </a:moveTo>
                      <a:lnTo>
                        <a:pt x="96" y="0"/>
                      </a:lnTo>
                      <a:lnTo>
                        <a:pt x="127" y="47"/>
                      </a:lnTo>
                      <a:lnTo>
                        <a:pt x="143" y="111"/>
                      </a:lnTo>
                      <a:lnTo>
                        <a:pt x="96" y="111"/>
                      </a:lnTo>
                      <a:lnTo>
                        <a:pt x="24" y="127"/>
                      </a:lnTo>
                      <a:lnTo>
                        <a:pt x="16" y="111"/>
                      </a:lnTo>
                      <a:lnTo>
                        <a:pt x="111" y="87"/>
                      </a:lnTo>
                      <a:lnTo>
                        <a:pt x="96" y="71"/>
                      </a:lnTo>
                      <a:lnTo>
                        <a:pt x="0" y="103"/>
                      </a:lnTo>
                      <a:lnTo>
                        <a:pt x="16"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99" name="Freeform 10"/>
                <p:cNvSpPr>
                  <a:spLocks/>
                </p:cNvSpPr>
                <p:nvPr/>
              </p:nvSpPr>
              <p:spPr bwMode="auto">
                <a:xfrm>
                  <a:off x="1745" y="1586"/>
                  <a:ext cx="103" cy="41"/>
                </a:xfrm>
                <a:custGeom>
                  <a:avLst/>
                  <a:gdLst/>
                  <a:ahLst/>
                  <a:cxnLst>
                    <a:cxn ang="0">
                      <a:pos x="16" y="40"/>
                    </a:cxn>
                    <a:cxn ang="0">
                      <a:pos x="111" y="16"/>
                    </a:cxn>
                    <a:cxn ang="0">
                      <a:pos x="96" y="0"/>
                    </a:cxn>
                    <a:cxn ang="0">
                      <a:pos x="0" y="32"/>
                    </a:cxn>
                    <a:cxn ang="0">
                      <a:pos x="16" y="40"/>
                    </a:cxn>
                  </a:cxnLst>
                  <a:rect l="0" t="0" r="r" b="b"/>
                  <a:pathLst>
                    <a:path w="112" h="41">
                      <a:moveTo>
                        <a:pt x="16" y="40"/>
                      </a:moveTo>
                      <a:lnTo>
                        <a:pt x="111" y="16"/>
                      </a:lnTo>
                      <a:lnTo>
                        <a:pt x="96" y="0"/>
                      </a:lnTo>
                      <a:lnTo>
                        <a:pt x="0" y="32"/>
                      </a:lnTo>
                      <a:lnTo>
                        <a:pt x="16" y="40"/>
                      </a:lnTo>
                    </a:path>
                  </a:pathLst>
                </a:custGeom>
                <a:grpFill/>
                <a:ln w="6350" cap="rnd">
                  <a:solidFill>
                    <a:schemeClr val="bg1">
                      <a:lumMod val="50000"/>
                    </a:schemeClr>
                  </a:solidFill>
                  <a:round/>
                  <a:headEnd/>
                  <a:tailEnd/>
                </a:ln>
                <a:effectLst/>
              </p:spPr>
              <p:txBody>
                <a:bodyPr/>
                <a:lstStyle/>
                <a:p>
                  <a:endParaRPr lang="en-GB" sz="2215" dirty="0"/>
                </a:p>
              </p:txBody>
            </p:sp>
            <p:sp>
              <p:nvSpPr>
                <p:cNvPr id="100" name="Freeform 11"/>
                <p:cNvSpPr>
                  <a:spLocks/>
                </p:cNvSpPr>
                <p:nvPr/>
              </p:nvSpPr>
              <p:spPr bwMode="auto">
                <a:xfrm>
                  <a:off x="1745" y="1586"/>
                  <a:ext cx="103" cy="41"/>
                </a:xfrm>
                <a:custGeom>
                  <a:avLst/>
                  <a:gdLst/>
                  <a:ahLst/>
                  <a:cxnLst>
                    <a:cxn ang="0">
                      <a:pos x="16" y="40"/>
                    </a:cxn>
                    <a:cxn ang="0">
                      <a:pos x="111" y="16"/>
                    </a:cxn>
                    <a:cxn ang="0">
                      <a:pos x="96" y="0"/>
                    </a:cxn>
                    <a:cxn ang="0">
                      <a:pos x="0" y="32"/>
                    </a:cxn>
                    <a:cxn ang="0">
                      <a:pos x="16" y="40"/>
                    </a:cxn>
                  </a:cxnLst>
                  <a:rect l="0" t="0" r="r" b="b"/>
                  <a:pathLst>
                    <a:path w="112" h="41">
                      <a:moveTo>
                        <a:pt x="16" y="40"/>
                      </a:moveTo>
                      <a:lnTo>
                        <a:pt x="111" y="16"/>
                      </a:lnTo>
                      <a:lnTo>
                        <a:pt x="96" y="0"/>
                      </a:lnTo>
                      <a:lnTo>
                        <a:pt x="0" y="32"/>
                      </a:lnTo>
                      <a:lnTo>
                        <a:pt x="16" y="4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1" name="Freeform 12"/>
                <p:cNvSpPr>
                  <a:spLocks/>
                </p:cNvSpPr>
                <p:nvPr/>
              </p:nvSpPr>
              <p:spPr bwMode="auto">
                <a:xfrm>
                  <a:off x="1767" y="1626"/>
                  <a:ext cx="67" cy="49"/>
                </a:xfrm>
                <a:custGeom>
                  <a:avLst/>
                  <a:gdLst/>
                  <a:ahLst/>
                  <a:cxnLst>
                    <a:cxn ang="0">
                      <a:pos x="32" y="48"/>
                    </a:cxn>
                    <a:cxn ang="0">
                      <a:pos x="0" y="16"/>
                    </a:cxn>
                    <a:cxn ang="0">
                      <a:pos x="72" y="0"/>
                    </a:cxn>
                    <a:cxn ang="0">
                      <a:pos x="32" y="48"/>
                    </a:cxn>
                  </a:cxnLst>
                  <a:rect l="0" t="0" r="r" b="b"/>
                  <a:pathLst>
                    <a:path w="73" h="49">
                      <a:moveTo>
                        <a:pt x="32" y="48"/>
                      </a:moveTo>
                      <a:lnTo>
                        <a:pt x="0" y="16"/>
                      </a:lnTo>
                      <a:lnTo>
                        <a:pt x="72" y="0"/>
                      </a:lnTo>
                      <a:lnTo>
                        <a:pt x="32" y="48"/>
                      </a:lnTo>
                    </a:path>
                  </a:pathLst>
                </a:custGeom>
                <a:grpFill/>
                <a:ln w="6350" cap="rnd">
                  <a:solidFill>
                    <a:schemeClr val="bg1">
                      <a:lumMod val="50000"/>
                    </a:schemeClr>
                  </a:solidFill>
                  <a:round/>
                  <a:headEnd/>
                  <a:tailEnd/>
                </a:ln>
                <a:effectLst/>
              </p:spPr>
              <p:txBody>
                <a:bodyPr/>
                <a:lstStyle/>
                <a:p>
                  <a:endParaRPr lang="en-GB" sz="2215" dirty="0"/>
                </a:p>
              </p:txBody>
            </p:sp>
            <p:sp>
              <p:nvSpPr>
                <p:cNvPr id="102" name="Freeform 13"/>
                <p:cNvSpPr>
                  <a:spLocks/>
                </p:cNvSpPr>
                <p:nvPr/>
              </p:nvSpPr>
              <p:spPr bwMode="auto">
                <a:xfrm>
                  <a:off x="1767" y="1626"/>
                  <a:ext cx="67" cy="49"/>
                </a:xfrm>
                <a:custGeom>
                  <a:avLst/>
                  <a:gdLst/>
                  <a:ahLst/>
                  <a:cxnLst>
                    <a:cxn ang="0">
                      <a:pos x="32" y="48"/>
                    </a:cxn>
                    <a:cxn ang="0">
                      <a:pos x="0" y="16"/>
                    </a:cxn>
                    <a:cxn ang="0">
                      <a:pos x="72" y="0"/>
                    </a:cxn>
                    <a:cxn ang="0">
                      <a:pos x="32" y="48"/>
                    </a:cxn>
                  </a:cxnLst>
                  <a:rect l="0" t="0" r="r" b="b"/>
                  <a:pathLst>
                    <a:path w="73" h="49">
                      <a:moveTo>
                        <a:pt x="32" y="48"/>
                      </a:moveTo>
                      <a:lnTo>
                        <a:pt x="0" y="16"/>
                      </a:lnTo>
                      <a:lnTo>
                        <a:pt x="72" y="0"/>
                      </a:lnTo>
                      <a:lnTo>
                        <a:pt x="32" y="4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3" name="Freeform 14"/>
                <p:cNvSpPr>
                  <a:spLocks/>
                </p:cNvSpPr>
                <p:nvPr/>
              </p:nvSpPr>
              <p:spPr bwMode="auto">
                <a:xfrm>
                  <a:off x="1796" y="1626"/>
                  <a:ext cx="163" cy="136"/>
                </a:xfrm>
                <a:custGeom>
                  <a:avLst/>
                  <a:gdLst/>
                  <a:ahLst/>
                  <a:cxnLst>
                    <a:cxn ang="0">
                      <a:pos x="175" y="0"/>
                    </a:cxn>
                    <a:cxn ang="0">
                      <a:pos x="40" y="0"/>
                    </a:cxn>
                    <a:cxn ang="0">
                      <a:pos x="0" y="48"/>
                    </a:cxn>
                    <a:cxn ang="0">
                      <a:pos x="40" y="103"/>
                    </a:cxn>
                    <a:cxn ang="0">
                      <a:pos x="55" y="72"/>
                    </a:cxn>
                    <a:cxn ang="0">
                      <a:pos x="87" y="72"/>
                    </a:cxn>
                    <a:cxn ang="0">
                      <a:pos x="111" y="119"/>
                    </a:cxn>
                    <a:cxn ang="0">
                      <a:pos x="159" y="135"/>
                    </a:cxn>
                    <a:cxn ang="0">
                      <a:pos x="175" y="103"/>
                    </a:cxn>
                    <a:cxn ang="0">
                      <a:pos x="175" y="0"/>
                    </a:cxn>
                  </a:cxnLst>
                  <a:rect l="0" t="0" r="r" b="b"/>
                  <a:pathLst>
                    <a:path w="176" h="136">
                      <a:moveTo>
                        <a:pt x="175" y="0"/>
                      </a:moveTo>
                      <a:lnTo>
                        <a:pt x="40" y="0"/>
                      </a:lnTo>
                      <a:lnTo>
                        <a:pt x="0" y="48"/>
                      </a:lnTo>
                      <a:lnTo>
                        <a:pt x="40" y="103"/>
                      </a:lnTo>
                      <a:lnTo>
                        <a:pt x="55" y="72"/>
                      </a:lnTo>
                      <a:lnTo>
                        <a:pt x="87" y="72"/>
                      </a:lnTo>
                      <a:lnTo>
                        <a:pt x="111" y="119"/>
                      </a:lnTo>
                      <a:lnTo>
                        <a:pt x="159" y="135"/>
                      </a:lnTo>
                      <a:lnTo>
                        <a:pt x="175" y="103"/>
                      </a:lnTo>
                      <a:lnTo>
                        <a:pt x="175"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4" name="Freeform 15"/>
                <p:cNvSpPr>
                  <a:spLocks/>
                </p:cNvSpPr>
                <p:nvPr/>
              </p:nvSpPr>
              <p:spPr bwMode="auto">
                <a:xfrm>
                  <a:off x="1833" y="1698"/>
                  <a:ext cx="67" cy="88"/>
                </a:xfrm>
                <a:custGeom>
                  <a:avLst/>
                  <a:gdLst/>
                  <a:ahLst/>
                  <a:cxnLst>
                    <a:cxn ang="0">
                      <a:pos x="0" y="31"/>
                    </a:cxn>
                    <a:cxn ang="0">
                      <a:pos x="15" y="0"/>
                    </a:cxn>
                    <a:cxn ang="0">
                      <a:pos x="47" y="0"/>
                    </a:cxn>
                    <a:cxn ang="0">
                      <a:pos x="71" y="47"/>
                    </a:cxn>
                    <a:cxn ang="0">
                      <a:pos x="47" y="87"/>
                    </a:cxn>
                    <a:cxn ang="0">
                      <a:pos x="0" y="31"/>
                    </a:cxn>
                  </a:cxnLst>
                  <a:rect l="0" t="0" r="r" b="b"/>
                  <a:pathLst>
                    <a:path w="72" h="88">
                      <a:moveTo>
                        <a:pt x="0" y="31"/>
                      </a:moveTo>
                      <a:lnTo>
                        <a:pt x="15" y="0"/>
                      </a:lnTo>
                      <a:lnTo>
                        <a:pt x="47" y="0"/>
                      </a:lnTo>
                      <a:lnTo>
                        <a:pt x="71" y="47"/>
                      </a:lnTo>
                      <a:lnTo>
                        <a:pt x="47" y="87"/>
                      </a:lnTo>
                      <a:lnTo>
                        <a:pt x="0" y="31"/>
                      </a:lnTo>
                    </a:path>
                  </a:pathLst>
                </a:custGeom>
                <a:grpFill/>
                <a:ln w="6350" cap="rnd">
                  <a:solidFill>
                    <a:schemeClr val="bg1">
                      <a:lumMod val="50000"/>
                    </a:schemeClr>
                  </a:solidFill>
                  <a:round/>
                  <a:headEnd/>
                  <a:tailEnd/>
                </a:ln>
                <a:effectLst/>
              </p:spPr>
              <p:txBody>
                <a:bodyPr/>
                <a:lstStyle/>
                <a:p>
                  <a:endParaRPr lang="en-GB" sz="2215" dirty="0"/>
                </a:p>
              </p:txBody>
            </p:sp>
            <p:sp>
              <p:nvSpPr>
                <p:cNvPr id="105" name="Freeform 16"/>
                <p:cNvSpPr>
                  <a:spLocks/>
                </p:cNvSpPr>
                <p:nvPr/>
              </p:nvSpPr>
              <p:spPr bwMode="auto">
                <a:xfrm>
                  <a:off x="1833" y="1698"/>
                  <a:ext cx="67" cy="88"/>
                </a:xfrm>
                <a:custGeom>
                  <a:avLst/>
                  <a:gdLst/>
                  <a:ahLst/>
                  <a:cxnLst>
                    <a:cxn ang="0">
                      <a:pos x="0" y="31"/>
                    </a:cxn>
                    <a:cxn ang="0">
                      <a:pos x="15" y="0"/>
                    </a:cxn>
                    <a:cxn ang="0">
                      <a:pos x="47" y="0"/>
                    </a:cxn>
                    <a:cxn ang="0">
                      <a:pos x="71" y="47"/>
                    </a:cxn>
                    <a:cxn ang="0">
                      <a:pos x="47" y="87"/>
                    </a:cxn>
                    <a:cxn ang="0">
                      <a:pos x="0" y="31"/>
                    </a:cxn>
                  </a:cxnLst>
                  <a:rect l="0" t="0" r="r" b="b"/>
                  <a:pathLst>
                    <a:path w="72" h="88">
                      <a:moveTo>
                        <a:pt x="0" y="31"/>
                      </a:moveTo>
                      <a:lnTo>
                        <a:pt x="15" y="0"/>
                      </a:lnTo>
                      <a:lnTo>
                        <a:pt x="47" y="0"/>
                      </a:lnTo>
                      <a:lnTo>
                        <a:pt x="71" y="47"/>
                      </a:lnTo>
                      <a:lnTo>
                        <a:pt x="47" y="87"/>
                      </a:lnTo>
                      <a:lnTo>
                        <a:pt x="0" y="31"/>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6" name="Freeform 17"/>
                <p:cNvSpPr>
                  <a:spLocks/>
                </p:cNvSpPr>
                <p:nvPr/>
              </p:nvSpPr>
              <p:spPr bwMode="auto">
                <a:xfrm>
                  <a:off x="1877" y="1745"/>
                  <a:ext cx="103" cy="113"/>
                </a:xfrm>
                <a:custGeom>
                  <a:avLst/>
                  <a:gdLst/>
                  <a:ahLst/>
                  <a:cxnLst>
                    <a:cxn ang="0">
                      <a:pos x="111" y="112"/>
                    </a:cxn>
                    <a:cxn ang="0">
                      <a:pos x="111" y="72"/>
                    </a:cxn>
                    <a:cxn ang="0">
                      <a:pos x="72" y="16"/>
                    </a:cxn>
                    <a:cxn ang="0">
                      <a:pos x="24" y="0"/>
                    </a:cxn>
                    <a:cxn ang="0">
                      <a:pos x="0" y="40"/>
                    </a:cxn>
                    <a:cxn ang="0">
                      <a:pos x="88" y="112"/>
                    </a:cxn>
                    <a:cxn ang="0">
                      <a:pos x="111" y="112"/>
                    </a:cxn>
                  </a:cxnLst>
                  <a:rect l="0" t="0" r="r" b="b"/>
                  <a:pathLst>
                    <a:path w="112" h="113">
                      <a:moveTo>
                        <a:pt x="111" y="112"/>
                      </a:moveTo>
                      <a:lnTo>
                        <a:pt x="111" y="72"/>
                      </a:lnTo>
                      <a:lnTo>
                        <a:pt x="72" y="16"/>
                      </a:lnTo>
                      <a:lnTo>
                        <a:pt x="24" y="0"/>
                      </a:lnTo>
                      <a:lnTo>
                        <a:pt x="0" y="40"/>
                      </a:lnTo>
                      <a:lnTo>
                        <a:pt x="88" y="112"/>
                      </a:lnTo>
                      <a:lnTo>
                        <a:pt x="111" y="112"/>
                      </a:lnTo>
                    </a:path>
                  </a:pathLst>
                </a:custGeom>
                <a:grpFill/>
                <a:ln w="6350" cap="rnd">
                  <a:solidFill>
                    <a:schemeClr val="bg1">
                      <a:lumMod val="50000"/>
                    </a:schemeClr>
                  </a:solidFill>
                  <a:round/>
                  <a:headEnd/>
                  <a:tailEnd/>
                </a:ln>
                <a:effectLst/>
              </p:spPr>
              <p:txBody>
                <a:bodyPr/>
                <a:lstStyle/>
                <a:p>
                  <a:endParaRPr lang="en-GB" sz="2215" dirty="0"/>
                </a:p>
              </p:txBody>
            </p:sp>
            <p:sp>
              <p:nvSpPr>
                <p:cNvPr id="107" name="Freeform 18"/>
                <p:cNvSpPr>
                  <a:spLocks/>
                </p:cNvSpPr>
                <p:nvPr/>
              </p:nvSpPr>
              <p:spPr bwMode="auto">
                <a:xfrm>
                  <a:off x="1877" y="1745"/>
                  <a:ext cx="103" cy="113"/>
                </a:xfrm>
                <a:custGeom>
                  <a:avLst/>
                  <a:gdLst/>
                  <a:ahLst/>
                  <a:cxnLst>
                    <a:cxn ang="0">
                      <a:pos x="111" y="112"/>
                    </a:cxn>
                    <a:cxn ang="0">
                      <a:pos x="111" y="72"/>
                    </a:cxn>
                    <a:cxn ang="0">
                      <a:pos x="72" y="16"/>
                    </a:cxn>
                    <a:cxn ang="0">
                      <a:pos x="24" y="0"/>
                    </a:cxn>
                    <a:cxn ang="0">
                      <a:pos x="0" y="40"/>
                    </a:cxn>
                    <a:cxn ang="0">
                      <a:pos x="88" y="112"/>
                    </a:cxn>
                    <a:cxn ang="0">
                      <a:pos x="111" y="112"/>
                    </a:cxn>
                  </a:cxnLst>
                  <a:rect l="0" t="0" r="r" b="b"/>
                  <a:pathLst>
                    <a:path w="112" h="113">
                      <a:moveTo>
                        <a:pt x="111" y="112"/>
                      </a:moveTo>
                      <a:lnTo>
                        <a:pt x="111" y="72"/>
                      </a:lnTo>
                      <a:lnTo>
                        <a:pt x="72" y="16"/>
                      </a:lnTo>
                      <a:lnTo>
                        <a:pt x="24" y="0"/>
                      </a:lnTo>
                      <a:lnTo>
                        <a:pt x="0" y="40"/>
                      </a:lnTo>
                      <a:lnTo>
                        <a:pt x="88" y="112"/>
                      </a:lnTo>
                      <a:lnTo>
                        <a:pt x="111" y="11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8" name="Freeform 19"/>
                <p:cNvSpPr>
                  <a:spLocks/>
                </p:cNvSpPr>
                <p:nvPr/>
              </p:nvSpPr>
              <p:spPr bwMode="auto">
                <a:xfrm>
                  <a:off x="1943" y="1674"/>
                  <a:ext cx="155" cy="184"/>
                </a:xfrm>
                <a:custGeom>
                  <a:avLst/>
                  <a:gdLst/>
                  <a:ahLst/>
                  <a:cxnLst>
                    <a:cxn ang="0">
                      <a:pos x="39" y="183"/>
                    </a:cxn>
                    <a:cxn ang="0">
                      <a:pos x="39" y="143"/>
                    </a:cxn>
                    <a:cxn ang="0">
                      <a:pos x="0" y="87"/>
                    </a:cxn>
                    <a:cxn ang="0">
                      <a:pos x="16" y="55"/>
                    </a:cxn>
                    <a:cxn ang="0">
                      <a:pos x="16" y="16"/>
                    </a:cxn>
                    <a:cxn ang="0">
                      <a:pos x="71" y="0"/>
                    </a:cxn>
                    <a:cxn ang="0">
                      <a:pos x="111" y="39"/>
                    </a:cxn>
                    <a:cxn ang="0">
                      <a:pos x="167" y="39"/>
                    </a:cxn>
                    <a:cxn ang="0">
                      <a:pos x="159" y="151"/>
                    </a:cxn>
                    <a:cxn ang="0">
                      <a:pos x="87" y="167"/>
                    </a:cxn>
                    <a:cxn ang="0">
                      <a:pos x="39" y="183"/>
                    </a:cxn>
                  </a:cxnLst>
                  <a:rect l="0" t="0" r="r" b="b"/>
                  <a:pathLst>
                    <a:path w="168" h="184">
                      <a:moveTo>
                        <a:pt x="39" y="183"/>
                      </a:moveTo>
                      <a:lnTo>
                        <a:pt x="39" y="143"/>
                      </a:lnTo>
                      <a:lnTo>
                        <a:pt x="0" y="87"/>
                      </a:lnTo>
                      <a:lnTo>
                        <a:pt x="16" y="55"/>
                      </a:lnTo>
                      <a:lnTo>
                        <a:pt x="16" y="16"/>
                      </a:lnTo>
                      <a:lnTo>
                        <a:pt x="71" y="0"/>
                      </a:lnTo>
                      <a:lnTo>
                        <a:pt x="111" y="39"/>
                      </a:lnTo>
                      <a:lnTo>
                        <a:pt x="167" y="39"/>
                      </a:lnTo>
                      <a:lnTo>
                        <a:pt x="159" y="151"/>
                      </a:lnTo>
                      <a:lnTo>
                        <a:pt x="87" y="167"/>
                      </a:lnTo>
                      <a:lnTo>
                        <a:pt x="39" y="183"/>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09" name="Freeform 20"/>
                <p:cNvSpPr>
                  <a:spLocks/>
                </p:cNvSpPr>
                <p:nvPr/>
              </p:nvSpPr>
              <p:spPr bwMode="auto">
                <a:xfrm>
                  <a:off x="1862" y="1276"/>
                  <a:ext cx="382" cy="415"/>
                </a:xfrm>
                <a:custGeom>
                  <a:avLst/>
                  <a:gdLst/>
                  <a:ahLst/>
                  <a:cxnLst>
                    <a:cxn ang="0">
                      <a:pos x="175" y="0"/>
                    </a:cxn>
                    <a:cxn ang="0">
                      <a:pos x="215" y="0"/>
                    </a:cxn>
                    <a:cxn ang="0">
                      <a:pos x="413" y="167"/>
                    </a:cxn>
                    <a:cxn ang="0">
                      <a:pos x="413" y="254"/>
                    </a:cxn>
                    <a:cxn ang="0">
                      <a:pos x="334" y="286"/>
                    </a:cxn>
                    <a:cxn ang="0">
                      <a:pos x="247" y="294"/>
                    </a:cxn>
                    <a:cxn ang="0">
                      <a:pos x="159" y="398"/>
                    </a:cxn>
                    <a:cxn ang="0">
                      <a:pos x="104" y="414"/>
                    </a:cxn>
                    <a:cxn ang="0">
                      <a:pos x="104" y="350"/>
                    </a:cxn>
                    <a:cxn ang="0">
                      <a:pos x="16" y="350"/>
                    </a:cxn>
                    <a:cxn ang="0">
                      <a:pos x="0" y="286"/>
                    </a:cxn>
                    <a:cxn ang="0">
                      <a:pos x="32" y="254"/>
                    </a:cxn>
                    <a:cxn ang="0">
                      <a:pos x="175" y="254"/>
                    </a:cxn>
                    <a:cxn ang="0">
                      <a:pos x="183" y="223"/>
                    </a:cxn>
                    <a:cxn ang="0">
                      <a:pos x="175" y="215"/>
                    </a:cxn>
                    <a:cxn ang="0">
                      <a:pos x="175" y="0"/>
                    </a:cxn>
                  </a:cxnLst>
                  <a:rect l="0" t="0" r="r" b="b"/>
                  <a:pathLst>
                    <a:path w="414" h="415">
                      <a:moveTo>
                        <a:pt x="175" y="0"/>
                      </a:moveTo>
                      <a:lnTo>
                        <a:pt x="215" y="0"/>
                      </a:lnTo>
                      <a:lnTo>
                        <a:pt x="413" y="167"/>
                      </a:lnTo>
                      <a:lnTo>
                        <a:pt x="413" y="254"/>
                      </a:lnTo>
                      <a:lnTo>
                        <a:pt x="334" y="286"/>
                      </a:lnTo>
                      <a:lnTo>
                        <a:pt x="247" y="294"/>
                      </a:lnTo>
                      <a:lnTo>
                        <a:pt x="159" y="398"/>
                      </a:lnTo>
                      <a:lnTo>
                        <a:pt x="104" y="414"/>
                      </a:lnTo>
                      <a:lnTo>
                        <a:pt x="104" y="350"/>
                      </a:lnTo>
                      <a:lnTo>
                        <a:pt x="16" y="350"/>
                      </a:lnTo>
                      <a:lnTo>
                        <a:pt x="0" y="286"/>
                      </a:lnTo>
                      <a:lnTo>
                        <a:pt x="32" y="254"/>
                      </a:lnTo>
                      <a:lnTo>
                        <a:pt x="175" y="254"/>
                      </a:lnTo>
                      <a:lnTo>
                        <a:pt x="183" y="223"/>
                      </a:lnTo>
                      <a:lnTo>
                        <a:pt x="175" y="215"/>
                      </a:lnTo>
                      <a:lnTo>
                        <a:pt x="175"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0" name="Freeform 21"/>
                <p:cNvSpPr>
                  <a:spLocks/>
                </p:cNvSpPr>
                <p:nvPr/>
              </p:nvSpPr>
              <p:spPr bwMode="auto">
                <a:xfrm>
                  <a:off x="2009" y="1562"/>
                  <a:ext cx="199" cy="152"/>
                </a:xfrm>
                <a:custGeom>
                  <a:avLst/>
                  <a:gdLst/>
                  <a:ahLst/>
                  <a:cxnLst>
                    <a:cxn ang="0">
                      <a:pos x="96" y="112"/>
                    </a:cxn>
                    <a:cxn ang="0">
                      <a:pos x="96" y="151"/>
                    </a:cxn>
                    <a:cxn ang="0">
                      <a:pos x="40" y="151"/>
                    </a:cxn>
                    <a:cxn ang="0">
                      <a:pos x="0" y="112"/>
                    </a:cxn>
                    <a:cxn ang="0">
                      <a:pos x="88" y="8"/>
                    </a:cxn>
                    <a:cxn ang="0">
                      <a:pos x="175" y="0"/>
                    </a:cxn>
                    <a:cxn ang="0">
                      <a:pos x="215" y="80"/>
                    </a:cxn>
                    <a:cxn ang="0">
                      <a:pos x="183" y="112"/>
                    </a:cxn>
                    <a:cxn ang="0">
                      <a:pos x="96" y="112"/>
                    </a:cxn>
                  </a:cxnLst>
                  <a:rect l="0" t="0" r="r" b="b"/>
                  <a:pathLst>
                    <a:path w="216" h="152">
                      <a:moveTo>
                        <a:pt x="96" y="112"/>
                      </a:moveTo>
                      <a:lnTo>
                        <a:pt x="96" y="151"/>
                      </a:lnTo>
                      <a:lnTo>
                        <a:pt x="40" y="151"/>
                      </a:lnTo>
                      <a:lnTo>
                        <a:pt x="0" y="112"/>
                      </a:lnTo>
                      <a:lnTo>
                        <a:pt x="88" y="8"/>
                      </a:lnTo>
                      <a:lnTo>
                        <a:pt x="175" y="0"/>
                      </a:lnTo>
                      <a:lnTo>
                        <a:pt x="215" y="80"/>
                      </a:lnTo>
                      <a:lnTo>
                        <a:pt x="183" y="112"/>
                      </a:lnTo>
                      <a:lnTo>
                        <a:pt x="96" y="112"/>
                      </a:lnTo>
                    </a:path>
                  </a:pathLst>
                </a:custGeom>
                <a:grpFill/>
                <a:ln w="6350" cap="rnd">
                  <a:solidFill>
                    <a:schemeClr val="bg1">
                      <a:lumMod val="50000"/>
                    </a:schemeClr>
                  </a:solidFill>
                  <a:round/>
                  <a:headEnd/>
                  <a:tailEnd/>
                </a:ln>
                <a:effectLst/>
              </p:spPr>
              <p:txBody>
                <a:bodyPr/>
                <a:lstStyle/>
                <a:p>
                  <a:endParaRPr lang="en-GB" sz="2215" dirty="0"/>
                </a:p>
              </p:txBody>
            </p:sp>
            <p:sp>
              <p:nvSpPr>
                <p:cNvPr id="111" name="Freeform 22"/>
                <p:cNvSpPr>
                  <a:spLocks/>
                </p:cNvSpPr>
                <p:nvPr/>
              </p:nvSpPr>
              <p:spPr bwMode="auto">
                <a:xfrm>
                  <a:off x="2009" y="1562"/>
                  <a:ext cx="199" cy="152"/>
                </a:xfrm>
                <a:custGeom>
                  <a:avLst/>
                  <a:gdLst/>
                  <a:ahLst/>
                  <a:cxnLst>
                    <a:cxn ang="0">
                      <a:pos x="96" y="112"/>
                    </a:cxn>
                    <a:cxn ang="0">
                      <a:pos x="96" y="151"/>
                    </a:cxn>
                    <a:cxn ang="0">
                      <a:pos x="40" y="151"/>
                    </a:cxn>
                    <a:cxn ang="0">
                      <a:pos x="0" y="112"/>
                    </a:cxn>
                    <a:cxn ang="0">
                      <a:pos x="88" y="8"/>
                    </a:cxn>
                    <a:cxn ang="0">
                      <a:pos x="175" y="0"/>
                    </a:cxn>
                    <a:cxn ang="0">
                      <a:pos x="215" y="80"/>
                    </a:cxn>
                    <a:cxn ang="0">
                      <a:pos x="183" y="112"/>
                    </a:cxn>
                    <a:cxn ang="0">
                      <a:pos x="96" y="112"/>
                    </a:cxn>
                  </a:cxnLst>
                  <a:rect l="0" t="0" r="r" b="b"/>
                  <a:pathLst>
                    <a:path w="216" h="152">
                      <a:moveTo>
                        <a:pt x="96" y="112"/>
                      </a:moveTo>
                      <a:lnTo>
                        <a:pt x="96" y="151"/>
                      </a:lnTo>
                      <a:lnTo>
                        <a:pt x="40" y="151"/>
                      </a:lnTo>
                      <a:lnTo>
                        <a:pt x="0" y="112"/>
                      </a:lnTo>
                      <a:lnTo>
                        <a:pt x="88" y="8"/>
                      </a:lnTo>
                      <a:lnTo>
                        <a:pt x="175" y="0"/>
                      </a:lnTo>
                      <a:lnTo>
                        <a:pt x="215" y="80"/>
                      </a:lnTo>
                      <a:lnTo>
                        <a:pt x="183" y="112"/>
                      </a:lnTo>
                      <a:lnTo>
                        <a:pt x="96" y="11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2" name="Freeform 23"/>
                <p:cNvSpPr>
                  <a:spLocks/>
                </p:cNvSpPr>
                <p:nvPr/>
              </p:nvSpPr>
              <p:spPr bwMode="auto">
                <a:xfrm>
                  <a:off x="2090" y="1674"/>
                  <a:ext cx="81" cy="168"/>
                </a:xfrm>
                <a:custGeom>
                  <a:avLst/>
                  <a:gdLst/>
                  <a:ahLst/>
                  <a:cxnLst>
                    <a:cxn ang="0">
                      <a:pos x="8" y="0"/>
                    </a:cxn>
                    <a:cxn ang="0">
                      <a:pos x="71" y="0"/>
                    </a:cxn>
                    <a:cxn ang="0">
                      <a:pos x="87" y="151"/>
                    </a:cxn>
                    <a:cxn ang="0">
                      <a:pos x="23" y="167"/>
                    </a:cxn>
                    <a:cxn ang="0">
                      <a:pos x="0" y="151"/>
                    </a:cxn>
                    <a:cxn ang="0">
                      <a:pos x="8" y="39"/>
                    </a:cxn>
                    <a:cxn ang="0">
                      <a:pos x="8" y="0"/>
                    </a:cxn>
                  </a:cxnLst>
                  <a:rect l="0" t="0" r="r" b="b"/>
                  <a:pathLst>
                    <a:path w="88" h="168">
                      <a:moveTo>
                        <a:pt x="8" y="0"/>
                      </a:moveTo>
                      <a:lnTo>
                        <a:pt x="71" y="0"/>
                      </a:lnTo>
                      <a:lnTo>
                        <a:pt x="87" y="151"/>
                      </a:lnTo>
                      <a:lnTo>
                        <a:pt x="23" y="167"/>
                      </a:lnTo>
                      <a:lnTo>
                        <a:pt x="0" y="151"/>
                      </a:lnTo>
                      <a:lnTo>
                        <a:pt x="8" y="39"/>
                      </a:lnTo>
                      <a:lnTo>
                        <a:pt x="8"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3" name="Freeform 24"/>
                <p:cNvSpPr>
                  <a:spLocks/>
                </p:cNvSpPr>
                <p:nvPr/>
              </p:nvSpPr>
              <p:spPr bwMode="auto">
                <a:xfrm>
                  <a:off x="2155" y="1674"/>
                  <a:ext cx="38" cy="152"/>
                </a:xfrm>
                <a:custGeom>
                  <a:avLst/>
                  <a:gdLst/>
                  <a:ahLst/>
                  <a:cxnLst>
                    <a:cxn ang="0">
                      <a:pos x="40" y="143"/>
                    </a:cxn>
                    <a:cxn ang="0">
                      <a:pos x="16" y="151"/>
                    </a:cxn>
                    <a:cxn ang="0">
                      <a:pos x="0" y="0"/>
                    </a:cxn>
                    <a:cxn ang="0">
                      <a:pos x="24" y="0"/>
                    </a:cxn>
                    <a:cxn ang="0">
                      <a:pos x="40" y="24"/>
                    </a:cxn>
                    <a:cxn ang="0">
                      <a:pos x="40" y="143"/>
                    </a:cxn>
                  </a:cxnLst>
                  <a:rect l="0" t="0" r="r" b="b"/>
                  <a:pathLst>
                    <a:path w="41" h="152">
                      <a:moveTo>
                        <a:pt x="40" y="143"/>
                      </a:moveTo>
                      <a:lnTo>
                        <a:pt x="16" y="151"/>
                      </a:lnTo>
                      <a:lnTo>
                        <a:pt x="0" y="0"/>
                      </a:lnTo>
                      <a:lnTo>
                        <a:pt x="24" y="0"/>
                      </a:lnTo>
                      <a:lnTo>
                        <a:pt x="40" y="24"/>
                      </a:lnTo>
                      <a:lnTo>
                        <a:pt x="40" y="143"/>
                      </a:lnTo>
                    </a:path>
                  </a:pathLst>
                </a:custGeom>
                <a:grpFill/>
                <a:ln w="6350" cap="rnd">
                  <a:solidFill>
                    <a:schemeClr val="bg1">
                      <a:lumMod val="50000"/>
                    </a:schemeClr>
                  </a:solidFill>
                  <a:round/>
                  <a:headEnd/>
                  <a:tailEnd/>
                </a:ln>
                <a:effectLst/>
              </p:spPr>
              <p:txBody>
                <a:bodyPr/>
                <a:lstStyle/>
                <a:p>
                  <a:endParaRPr lang="en-GB" sz="2215" dirty="0"/>
                </a:p>
              </p:txBody>
            </p:sp>
            <p:sp>
              <p:nvSpPr>
                <p:cNvPr id="114" name="Freeform 25"/>
                <p:cNvSpPr>
                  <a:spLocks/>
                </p:cNvSpPr>
                <p:nvPr/>
              </p:nvSpPr>
              <p:spPr bwMode="auto">
                <a:xfrm>
                  <a:off x="2155" y="1674"/>
                  <a:ext cx="38" cy="152"/>
                </a:xfrm>
                <a:custGeom>
                  <a:avLst/>
                  <a:gdLst/>
                  <a:ahLst/>
                  <a:cxnLst>
                    <a:cxn ang="0">
                      <a:pos x="40" y="143"/>
                    </a:cxn>
                    <a:cxn ang="0">
                      <a:pos x="16" y="151"/>
                    </a:cxn>
                    <a:cxn ang="0">
                      <a:pos x="0" y="0"/>
                    </a:cxn>
                    <a:cxn ang="0">
                      <a:pos x="24" y="0"/>
                    </a:cxn>
                    <a:cxn ang="0">
                      <a:pos x="40" y="24"/>
                    </a:cxn>
                    <a:cxn ang="0">
                      <a:pos x="40" y="143"/>
                    </a:cxn>
                  </a:cxnLst>
                  <a:rect l="0" t="0" r="r" b="b"/>
                  <a:pathLst>
                    <a:path w="41" h="152">
                      <a:moveTo>
                        <a:pt x="40" y="143"/>
                      </a:moveTo>
                      <a:lnTo>
                        <a:pt x="16" y="151"/>
                      </a:lnTo>
                      <a:lnTo>
                        <a:pt x="0" y="0"/>
                      </a:lnTo>
                      <a:lnTo>
                        <a:pt x="24" y="0"/>
                      </a:lnTo>
                      <a:lnTo>
                        <a:pt x="40" y="24"/>
                      </a:lnTo>
                      <a:lnTo>
                        <a:pt x="40" y="143"/>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5" name="Freeform 26"/>
                <p:cNvSpPr>
                  <a:spLocks/>
                </p:cNvSpPr>
                <p:nvPr/>
              </p:nvSpPr>
              <p:spPr bwMode="auto">
                <a:xfrm>
                  <a:off x="2178" y="1642"/>
                  <a:ext cx="66" cy="176"/>
                </a:xfrm>
                <a:custGeom>
                  <a:avLst/>
                  <a:gdLst/>
                  <a:ahLst/>
                  <a:cxnLst>
                    <a:cxn ang="0">
                      <a:pos x="48" y="175"/>
                    </a:cxn>
                    <a:cxn ang="0">
                      <a:pos x="16" y="175"/>
                    </a:cxn>
                    <a:cxn ang="0">
                      <a:pos x="16" y="56"/>
                    </a:cxn>
                    <a:cxn ang="0">
                      <a:pos x="0" y="32"/>
                    </a:cxn>
                    <a:cxn ang="0">
                      <a:pos x="32" y="0"/>
                    </a:cxn>
                    <a:cxn ang="0">
                      <a:pos x="71" y="0"/>
                    </a:cxn>
                    <a:cxn ang="0">
                      <a:pos x="71" y="32"/>
                    </a:cxn>
                    <a:cxn ang="0">
                      <a:pos x="48" y="103"/>
                    </a:cxn>
                    <a:cxn ang="0">
                      <a:pos x="48" y="175"/>
                    </a:cxn>
                  </a:cxnLst>
                  <a:rect l="0" t="0" r="r" b="b"/>
                  <a:pathLst>
                    <a:path w="72" h="176">
                      <a:moveTo>
                        <a:pt x="48" y="175"/>
                      </a:moveTo>
                      <a:lnTo>
                        <a:pt x="16" y="175"/>
                      </a:lnTo>
                      <a:lnTo>
                        <a:pt x="16" y="56"/>
                      </a:lnTo>
                      <a:lnTo>
                        <a:pt x="0" y="32"/>
                      </a:lnTo>
                      <a:lnTo>
                        <a:pt x="32" y="0"/>
                      </a:lnTo>
                      <a:lnTo>
                        <a:pt x="71" y="0"/>
                      </a:lnTo>
                      <a:lnTo>
                        <a:pt x="71" y="32"/>
                      </a:lnTo>
                      <a:lnTo>
                        <a:pt x="48" y="103"/>
                      </a:lnTo>
                      <a:lnTo>
                        <a:pt x="48" y="175"/>
                      </a:lnTo>
                    </a:path>
                  </a:pathLst>
                </a:custGeom>
                <a:grpFill/>
                <a:ln w="6350" cap="rnd">
                  <a:solidFill>
                    <a:schemeClr val="bg1">
                      <a:lumMod val="50000"/>
                    </a:schemeClr>
                  </a:solidFill>
                  <a:round/>
                  <a:headEnd/>
                  <a:tailEnd/>
                </a:ln>
                <a:effectLst/>
              </p:spPr>
              <p:txBody>
                <a:bodyPr/>
                <a:lstStyle/>
                <a:p>
                  <a:endParaRPr lang="en-GB" sz="2215" dirty="0"/>
                </a:p>
              </p:txBody>
            </p:sp>
            <p:sp>
              <p:nvSpPr>
                <p:cNvPr id="116" name="Freeform 27"/>
                <p:cNvSpPr>
                  <a:spLocks/>
                </p:cNvSpPr>
                <p:nvPr/>
              </p:nvSpPr>
              <p:spPr bwMode="auto">
                <a:xfrm>
                  <a:off x="2178" y="1642"/>
                  <a:ext cx="66" cy="176"/>
                </a:xfrm>
                <a:custGeom>
                  <a:avLst/>
                  <a:gdLst/>
                  <a:ahLst/>
                  <a:cxnLst>
                    <a:cxn ang="0">
                      <a:pos x="48" y="175"/>
                    </a:cxn>
                    <a:cxn ang="0">
                      <a:pos x="16" y="175"/>
                    </a:cxn>
                    <a:cxn ang="0">
                      <a:pos x="16" y="56"/>
                    </a:cxn>
                    <a:cxn ang="0">
                      <a:pos x="0" y="32"/>
                    </a:cxn>
                    <a:cxn ang="0">
                      <a:pos x="32" y="0"/>
                    </a:cxn>
                    <a:cxn ang="0">
                      <a:pos x="71" y="0"/>
                    </a:cxn>
                    <a:cxn ang="0">
                      <a:pos x="71" y="32"/>
                    </a:cxn>
                    <a:cxn ang="0">
                      <a:pos x="48" y="103"/>
                    </a:cxn>
                    <a:cxn ang="0">
                      <a:pos x="48" y="175"/>
                    </a:cxn>
                  </a:cxnLst>
                  <a:rect l="0" t="0" r="r" b="b"/>
                  <a:pathLst>
                    <a:path w="72" h="176">
                      <a:moveTo>
                        <a:pt x="48" y="175"/>
                      </a:moveTo>
                      <a:lnTo>
                        <a:pt x="16" y="175"/>
                      </a:lnTo>
                      <a:lnTo>
                        <a:pt x="16" y="56"/>
                      </a:lnTo>
                      <a:lnTo>
                        <a:pt x="0" y="32"/>
                      </a:lnTo>
                      <a:lnTo>
                        <a:pt x="32" y="0"/>
                      </a:lnTo>
                      <a:lnTo>
                        <a:pt x="71" y="0"/>
                      </a:lnTo>
                      <a:lnTo>
                        <a:pt x="71" y="32"/>
                      </a:lnTo>
                      <a:lnTo>
                        <a:pt x="48" y="103"/>
                      </a:lnTo>
                      <a:lnTo>
                        <a:pt x="48" y="175"/>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7" name="Freeform 28"/>
                <p:cNvSpPr>
                  <a:spLocks/>
                </p:cNvSpPr>
                <p:nvPr/>
              </p:nvSpPr>
              <p:spPr bwMode="auto">
                <a:xfrm>
                  <a:off x="2222" y="1586"/>
                  <a:ext cx="301" cy="287"/>
                </a:xfrm>
                <a:custGeom>
                  <a:avLst/>
                  <a:gdLst/>
                  <a:ahLst/>
                  <a:cxnLst>
                    <a:cxn ang="0">
                      <a:pos x="0" y="231"/>
                    </a:cxn>
                    <a:cxn ang="0">
                      <a:pos x="0" y="159"/>
                    </a:cxn>
                    <a:cxn ang="0">
                      <a:pos x="23" y="88"/>
                    </a:cxn>
                    <a:cxn ang="0">
                      <a:pos x="23" y="56"/>
                    </a:cxn>
                    <a:cxn ang="0">
                      <a:pos x="39" y="16"/>
                    </a:cxn>
                    <a:cxn ang="0">
                      <a:pos x="111" y="16"/>
                    </a:cxn>
                    <a:cxn ang="0">
                      <a:pos x="143" y="32"/>
                    </a:cxn>
                    <a:cxn ang="0">
                      <a:pos x="230" y="0"/>
                    </a:cxn>
                    <a:cxn ang="0">
                      <a:pos x="270" y="0"/>
                    </a:cxn>
                    <a:cxn ang="0">
                      <a:pos x="286" y="40"/>
                    </a:cxn>
                    <a:cxn ang="0">
                      <a:pos x="325" y="56"/>
                    </a:cxn>
                    <a:cxn ang="0">
                      <a:pos x="309" y="127"/>
                    </a:cxn>
                    <a:cxn ang="0">
                      <a:pos x="270" y="112"/>
                    </a:cxn>
                    <a:cxn ang="0">
                      <a:pos x="270" y="159"/>
                    </a:cxn>
                    <a:cxn ang="0">
                      <a:pos x="198" y="231"/>
                    </a:cxn>
                    <a:cxn ang="0">
                      <a:pos x="158" y="231"/>
                    </a:cxn>
                    <a:cxn ang="0">
                      <a:pos x="143" y="286"/>
                    </a:cxn>
                    <a:cxn ang="0">
                      <a:pos x="71" y="271"/>
                    </a:cxn>
                    <a:cxn ang="0">
                      <a:pos x="39" y="231"/>
                    </a:cxn>
                    <a:cxn ang="0">
                      <a:pos x="0" y="231"/>
                    </a:cxn>
                  </a:cxnLst>
                  <a:rect l="0" t="0" r="r" b="b"/>
                  <a:pathLst>
                    <a:path w="326" h="287">
                      <a:moveTo>
                        <a:pt x="0" y="231"/>
                      </a:moveTo>
                      <a:lnTo>
                        <a:pt x="0" y="159"/>
                      </a:lnTo>
                      <a:lnTo>
                        <a:pt x="23" y="88"/>
                      </a:lnTo>
                      <a:lnTo>
                        <a:pt x="23" y="56"/>
                      </a:lnTo>
                      <a:lnTo>
                        <a:pt x="39" y="16"/>
                      </a:lnTo>
                      <a:lnTo>
                        <a:pt x="111" y="16"/>
                      </a:lnTo>
                      <a:lnTo>
                        <a:pt x="143" y="32"/>
                      </a:lnTo>
                      <a:lnTo>
                        <a:pt x="230" y="0"/>
                      </a:lnTo>
                      <a:lnTo>
                        <a:pt x="270" y="0"/>
                      </a:lnTo>
                      <a:lnTo>
                        <a:pt x="286" y="40"/>
                      </a:lnTo>
                      <a:lnTo>
                        <a:pt x="325" y="56"/>
                      </a:lnTo>
                      <a:lnTo>
                        <a:pt x="309" y="127"/>
                      </a:lnTo>
                      <a:lnTo>
                        <a:pt x="270" y="112"/>
                      </a:lnTo>
                      <a:lnTo>
                        <a:pt x="270" y="159"/>
                      </a:lnTo>
                      <a:lnTo>
                        <a:pt x="198" y="231"/>
                      </a:lnTo>
                      <a:lnTo>
                        <a:pt x="158" y="231"/>
                      </a:lnTo>
                      <a:lnTo>
                        <a:pt x="143" y="286"/>
                      </a:lnTo>
                      <a:lnTo>
                        <a:pt x="71" y="271"/>
                      </a:lnTo>
                      <a:lnTo>
                        <a:pt x="39" y="231"/>
                      </a:lnTo>
                      <a:lnTo>
                        <a:pt x="0" y="231"/>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8" name="Freeform 29"/>
                <p:cNvSpPr>
                  <a:spLocks/>
                </p:cNvSpPr>
                <p:nvPr/>
              </p:nvSpPr>
              <p:spPr bwMode="auto">
                <a:xfrm>
                  <a:off x="1958" y="902"/>
                  <a:ext cx="477" cy="542"/>
                </a:xfrm>
                <a:custGeom>
                  <a:avLst/>
                  <a:gdLst/>
                  <a:ahLst/>
                  <a:cxnLst>
                    <a:cxn ang="0">
                      <a:pos x="182" y="48"/>
                    </a:cxn>
                    <a:cxn ang="0">
                      <a:pos x="182" y="127"/>
                    </a:cxn>
                    <a:cxn ang="0">
                      <a:pos x="0" y="271"/>
                    </a:cxn>
                    <a:cxn ang="0">
                      <a:pos x="111" y="374"/>
                    </a:cxn>
                    <a:cxn ang="0">
                      <a:pos x="309" y="541"/>
                    </a:cxn>
                    <a:cxn ang="0">
                      <a:pos x="516" y="430"/>
                    </a:cxn>
                    <a:cxn ang="0">
                      <a:pos x="452" y="374"/>
                    </a:cxn>
                    <a:cxn ang="0">
                      <a:pos x="452" y="175"/>
                    </a:cxn>
                    <a:cxn ang="0">
                      <a:pos x="413" y="119"/>
                    </a:cxn>
                    <a:cxn ang="0">
                      <a:pos x="413" y="56"/>
                    </a:cxn>
                    <a:cxn ang="0">
                      <a:pos x="429" y="0"/>
                    </a:cxn>
                    <a:cxn ang="0">
                      <a:pos x="357" y="0"/>
                    </a:cxn>
                    <a:cxn ang="0">
                      <a:pos x="230" y="32"/>
                    </a:cxn>
                    <a:cxn ang="0">
                      <a:pos x="182" y="48"/>
                    </a:cxn>
                  </a:cxnLst>
                  <a:rect l="0" t="0" r="r" b="b"/>
                  <a:pathLst>
                    <a:path w="517" h="542">
                      <a:moveTo>
                        <a:pt x="182" y="48"/>
                      </a:moveTo>
                      <a:lnTo>
                        <a:pt x="182" y="127"/>
                      </a:lnTo>
                      <a:lnTo>
                        <a:pt x="0" y="271"/>
                      </a:lnTo>
                      <a:lnTo>
                        <a:pt x="111" y="374"/>
                      </a:lnTo>
                      <a:lnTo>
                        <a:pt x="309" y="541"/>
                      </a:lnTo>
                      <a:lnTo>
                        <a:pt x="516" y="430"/>
                      </a:lnTo>
                      <a:lnTo>
                        <a:pt x="452" y="374"/>
                      </a:lnTo>
                      <a:lnTo>
                        <a:pt x="452" y="175"/>
                      </a:lnTo>
                      <a:lnTo>
                        <a:pt x="413" y="119"/>
                      </a:lnTo>
                      <a:lnTo>
                        <a:pt x="413" y="56"/>
                      </a:lnTo>
                      <a:lnTo>
                        <a:pt x="429" y="0"/>
                      </a:lnTo>
                      <a:lnTo>
                        <a:pt x="357" y="0"/>
                      </a:lnTo>
                      <a:lnTo>
                        <a:pt x="230" y="32"/>
                      </a:lnTo>
                      <a:lnTo>
                        <a:pt x="182" y="4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19" name="Freeform 30"/>
                <p:cNvSpPr>
                  <a:spLocks/>
                </p:cNvSpPr>
                <p:nvPr/>
              </p:nvSpPr>
              <p:spPr bwMode="auto">
                <a:xfrm>
                  <a:off x="2170" y="1332"/>
                  <a:ext cx="338" cy="311"/>
                </a:xfrm>
                <a:custGeom>
                  <a:avLst/>
                  <a:gdLst/>
                  <a:ahLst/>
                  <a:cxnLst>
                    <a:cxn ang="0">
                      <a:pos x="326" y="254"/>
                    </a:cxn>
                    <a:cxn ang="0">
                      <a:pos x="286" y="254"/>
                    </a:cxn>
                    <a:cxn ang="0">
                      <a:pos x="199" y="286"/>
                    </a:cxn>
                    <a:cxn ang="0">
                      <a:pos x="167" y="270"/>
                    </a:cxn>
                    <a:cxn ang="0">
                      <a:pos x="95" y="270"/>
                    </a:cxn>
                    <a:cxn ang="0">
                      <a:pos x="79" y="310"/>
                    </a:cxn>
                    <a:cxn ang="0">
                      <a:pos x="40" y="310"/>
                    </a:cxn>
                    <a:cxn ang="0">
                      <a:pos x="0" y="230"/>
                    </a:cxn>
                    <a:cxn ang="0">
                      <a:pos x="79" y="198"/>
                    </a:cxn>
                    <a:cxn ang="0">
                      <a:pos x="79" y="111"/>
                    </a:cxn>
                    <a:cxn ang="0">
                      <a:pos x="286" y="0"/>
                    </a:cxn>
                    <a:cxn ang="0">
                      <a:pos x="365" y="39"/>
                    </a:cxn>
                    <a:cxn ang="0">
                      <a:pos x="365" y="167"/>
                    </a:cxn>
                    <a:cxn ang="0">
                      <a:pos x="326" y="198"/>
                    </a:cxn>
                    <a:cxn ang="0">
                      <a:pos x="326" y="254"/>
                    </a:cxn>
                  </a:cxnLst>
                  <a:rect l="0" t="0" r="r" b="b"/>
                  <a:pathLst>
                    <a:path w="366" h="311">
                      <a:moveTo>
                        <a:pt x="326" y="254"/>
                      </a:moveTo>
                      <a:lnTo>
                        <a:pt x="286" y="254"/>
                      </a:lnTo>
                      <a:lnTo>
                        <a:pt x="199" y="286"/>
                      </a:lnTo>
                      <a:lnTo>
                        <a:pt x="167" y="270"/>
                      </a:lnTo>
                      <a:lnTo>
                        <a:pt x="95" y="270"/>
                      </a:lnTo>
                      <a:lnTo>
                        <a:pt x="79" y="310"/>
                      </a:lnTo>
                      <a:lnTo>
                        <a:pt x="40" y="310"/>
                      </a:lnTo>
                      <a:lnTo>
                        <a:pt x="0" y="230"/>
                      </a:lnTo>
                      <a:lnTo>
                        <a:pt x="79" y="198"/>
                      </a:lnTo>
                      <a:lnTo>
                        <a:pt x="79" y="111"/>
                      </a:lnTo>
                      <a:lnTo>
                        <a:pt x="286" y="0"/>
                      </a:lnTo>
                      <a:lnTo>
                        <a:pt x="365" y="39"/>
                      </a:lnTo>
                      <a:lnTo>
                        <a:pt x="365" y="167"/>
                      </a:lnTo>
                      <a:lnTo>
                        <a:pt x="326" y="198"/>
                      </a:lnTo>
                      <a:lnTo>
                        <a:pt x="326" y="254"/>
                      </a:lnTo>
                    </a:path>
                  </a:pathLst>
                </a:custGeom>
                <a:grpFill/>
                <a:ln w="6350" cap="rnd">
                  <a:solidFill>
                    <a:schemeClr val="bg1">
                      <a:lumMod val="50000"/>
                    </a:schemeClr>
                  </a:solidFill>
                  <a:round/>
                  <a:headEnd/>
                  <a:tailEnd/>
                </a:ln>
                <a:effectLst/>
              </p:spPr>
              <p:txBody>
                <a:bodyPr/>
                <a:lstStyle/>
                <a:p>
                  <a:endParaRPr lang="en-GB" sz="2215" dirty="0"/>
                </a:p>
              </p:txBody>
            </p:sp>
            <p:sp>
              <p:nvSpPr>
                <p:cNvPr id="120" name="Freeform 31"/>
                <p:cNvSpPr>
                  <a:spLocks/>
                </p:cNvSpPr>
                <p:nvPr/>
              </p:nvSpPr>
              <p:spPr bwMode="auto">
                <a:xfrm>
                  <a:off x="2170" y="1332"/>
                  <a:ext cx="338" cy="311"/>
                </a:xfrm>
                <a:custGeom>
                  <a:avLst/>
                  <a:gdLst/>
                  <a:ahLst/>
                  <a:cxnLst>
                    <a:cxn ang="0">
                      <a:pos x="326" y="254"/>
                    </a:cxn>
                    <a:cxn ang="0">
                      <a:pos x="286" y="254"/>
                    </a:cxn>
                    <a:cxn ang="0">
                      <a:pos x="199" y="286"/>
                    </a:cxn>
                    <a:cxn ang="0">
                      <a:pos x="167" y="270"/>
                    </a:cxn>
                    <a:cxn ang="0">
                      <a:pos x="95" y="270"/>
                    </a:cxn>
                    <a:cxn ang="0">
                      <a:pos x="79" y="310"/>
                    </a:cxn>
                    <a:cxn ang="0">
                      <a:pos x="40" y="310"/>
                    </a:cxn>
                    <a:cxn ang="0">
                      <a:pos x="0" y="230"/>
                    </a:cxn>
                    <a:cxn ang="0">
                      <a:pos x="79" y="198"/>
                    </a:cxn>
                    <a:cxn ang="0">
                      <a:pos x="79" y="111"/>
                    </a:cxn>
                    <a:cxn ang="0">
                      <a:pos x="286" y="0"/>
                    </a:cxn>
                    <a:cxn ang="0">
                      <a:pos x="365" y="39"/>
                    </a:cxn>
                    <a:cxn ang="0">
                      <a:pos x="365" y="167"/>
                    </a:cxn>
                    <a:cxn ang="0">
                      <a:pos x="326" y="198"/>
                    </a:cxn>
                    <a:cxn ang="0">
                      <a:pos x="326" y="254"/>
                    </a:cxn>
                  </a:cxnLst>
                  <a:rect l="0" t="0" r="r" b="b"/>
                  <a:pathLst>
                    <a:path w="366" h="311">
                      <a:moveTo>
                        <a:pt x="326" y="254"/>
                      </a:moveTo>
                      <a:lnTo>
                        <a:pt x="286" y="254"/>
                      </a:lnTo>
                      <a:lnTo>
                        <a:pt x="199" y="286"/>
                      </a:lnTo>
                      <a:lnTo>
                        <a:pt x="167" y="270"/>
                      </a:lnTo>
                      <a:lnTo>
                        <a:pt x="95" y="270"/>
                      </a:lnTo>
                      <a:lnTo>
                        <a:pt x="79" y="310"/>
                      </a:lnTo>
                      <a:lnTo>
                        <a:pt x="40" y="310"/>
                      </a:lnTo>
                      <a:lnTo>
                        <a:pt x="0" y="230"/>
                      </a:lnTo>
                      <a:lnTo>
                        <a:pt x="79" y="198"/>
                      </a:lnTo>
                      <a:lnTo>
                        <a:pt x="79" y="111"/>
                      </a:lnTo>
                      <a:lnTo>
                        <a:pt x="286" y="0"/>
                      </a:lnTo>
                      <a:lnTo>
                        <a:pt x="365" y="39"/>
                      </a:lnTo>
                      <a:lnTo>
                        <a:pt x="365" y="167"/>
                      </a:lnTo>
                      <a:lnTo>
                        <a:pt x="326" y="198"/>
                      </a:lnTo>
                      <a:lnTo>
                        <a:pt x="326" y="254"/>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1" name="Freeform 32"/>
                <p:cNvSpPr>
                  <a:spLocks/>
                </p:cNvSpPr>
                <p:nvPr/>
              </p:nvSpPr>
              <p:spPr bwMode="auto">
                <a:xfrm>
                  <a:off x="2339" y="902"/>
                  <a:ext cx="96" cy="176"/>
                </a:xfrm>
                <a:custGeom>
                  <a:avLst/>
                  <a:gdLst/>
                  <a:ahLst/>
                  <a:cxnLst>
                    <a:cxn ang="0">
                      <a:pos x="87" y="0"/>
                    </a:cxn>
                    <a:cxn ang="0">
                      <a:pos x="87" y="48"/>
                    </a:cxn>
                    <a:cxn ang="0">
                      <a:pos x="71" y="88"/>
                    </a:cxn>
                    <a:cxn ang="0">
                      <a:pos x="103" y="119"/>
                    </a:cxn>
                    <a:cxn ang="0">
                      <a:pos x="39" y="175"/>
                    </a:cxn>
                    <a:cxn ang="0">
                      <a:pos x="0" y="119"/>
                    </a:cxn>
                    <a:cxn ang="0">
                      <a:pos x="0" y="56"/>
                    </a:cxn>
                    <a:cxn ang="0">
                      <a:pos x="16" y="0"/>
                    </a:cxn>
                    <a:cxn ang="0">
                      <a:pos x="87" y="0"/>
                    </a:cxn>
                  </a:cxnLst>
                  <a:rect l="0" t="0" r="r" b="b"/>
                  <a:pathLst>
                    <a:path w="104" h="176">
                      <a:moveTo>
                        <a:pt x="87" y="0"/>
                      </a:moveTo>
                      <a:lnTo>
                        <a:pt x="87" y="48"/>
                      </a:lnTo>
                      <a:lnTo>
                        <a:pt x="71" y="88"/>
                      </a:lnTo>
                      <a:lnTo>
                        <a:pt x="103" y="119"/>
                      </a:lnTo>
                      <a:lnTo>
                        <a:pt x="39" y="175"/>
                      </a:lnTo>
                      <a:lnTo>
                        <a:pt x="0" y="119"/>
                      </a:lnTo>
                      <a:lnTo>
                        <a:pt x="0" y="56"/>
                      </a:lnTo>
                      <a:lnTo>
                        <a:pt x="16" y="0"/>
                      </a:lnTo>
                      <a:lnTo>
                        <a:pt x="87" y="0"/>
                      </a:lnTo>
                    </a:path>
                  </a:pathLst>
                </a:custGeom>
                <a:grpFill/>
                <a:ln w="6350" cap="rnd">
                  <a:solidFill>
                    <a:schemeClr val="bg1">
                      <a:lumMod val="50000"/>
                    </a:schemeClr>
                  </a:solidFill>
                  <a:round/>
                  <a:headEnd/>
                  <a:tailEnd/>
                </a:ln>
                <a:effectLst/>
              </p:spPr>
              <p:txBody>
                <a:bodyPr/>
                <a:lstStyle/>
                <a:p>
                  <a:endParaRPr lang="en-GB" sz="2215" dirty="0"/>
                </a:p>
              </p:txBody>
            </p:sp>
            <p:sp>
              <p:nvSpPr>
                <p:cNvPr id="122" name="Freeform 33"/>
                <p:cNvSpPr>
                  <a:spLocks/>
                </p:cNvSpPr>
                <p:nvPr/>
              </p:nvSpPr>
              <p:spPr bwMode="auto">
                <a:xfrm>
                  <a:off x="2339" y="902"/>
                  <a:ext cx="96" cy="176"/>
                </a:xfrm>
                <a:custGeom>
                  <a:avLst/>
                  <a:gdLst/>
                  <a:ahLst/>
                  <a:cxnLst>
                    <a:cxn ang="0">
                      <a:pos x="87" y="0"/>
                    </a:cxn>
                    <a:cxn ang="0">
                      <a:pos x="87" y="48"/>
                    </a:cxn>
                    <a:cxn ang="0">
                      <a:pos x="71" y="88"/>
                    </a:cxn>
                    <a:cxn ang="0">
                      <a:pos x="103" y="119"/>
                    </a:cxn>
                    <a:cxn ang="0">
                      <a:pos x="39" y="175"/>
                    </a:cxn>
                    <a:cxn ang="0">
                      <a:pos x="0" y="119"/>
                    </a:cxn>
                    <a:cxn ang="0">
                      <a:pos x="0" y="56"/>
                    </a:cxn>
                    <a:cxn ang="0">
                      <a:pos x="16" y="0"/>
                    </a:cxn>
                    <a:cxn ang="0">
                      <a:pos x="87" y="0"/>
                    </a:cxn>
                  </a:cxnLst>
                  <a:rect l="0" t="0" r="r" b="b"/>
                  <a:pathLst>
                    <a:path w="104" h="176">
                      <a:moveTo>
                        <a:pt x="87" y="0"/>
                      </a:moveTo>
                      <a:lnTo>
                        <a:pt x="87" y="48"/>
                      </a:lnTo>
                      <a:lnTo>
                        <a:pt x="71" y="88"/>
                      </a:lnTo>
                      <a:lnTo>
                        <a:pt x="103" y="119"/>
                      </a:lnTo>
                      <a:lnTo>
                        <a:pt x="39" y="175"/>
                      </a:lnTo>
                      <a:lnTo>
                        <a:pt x="0" y="119"/>
                      </a:lnTo>
                      <a:lnTo>
                        <a:pt x="0" y="56"/>
                      </a:lnTo>
                      <a:lnTo>
                        <a:pt x="16" y="0"/>
                      </a:lnTo>
                      <a:lnTo>
                        <a:pt x="87"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3" name="Freeform 34"/>
                <p:cNvSpPr>
                  <a:spLocks/>
                </p:cNvSpPr>
                <p:nvPr/>
              </p:nvSpPr>
              <p:spPr bwMode="auto">
                <a:xfrm>
                  <a:off x="2375" y="1021"/>
                  <a:ext cx="376" cy="399"/>
                </a:xfrm>
                <a:custGeom>
                  <a:avLst/>
                  <a:gdLst/>
                  <a:ahLst/>
                  <a:cxnLst>
                    <a:cxn ang="0">
                      <a:pos x="143" y="350"/>
                    </a:cxn>
                    <a:cxn ang="0">
                      <a:pos x="64" y="311"/>
                    </a:cxn>
                    <a:cxn ang="0">
                      <a:pos x="0" y="255"/>
                    </a:cxn>
                    <a:cxn ang="0">
                      <a:pos x="0" y="56"/>
                    </a:cxn>
                    <a:cxn ang="0">
                      <a:pos x="64" y="0"/>
                    </a:cxn>
                    <a:cxn ang="0">
                      <a:pos x="135" y="24"/>
                    </a:cxn>
                    <a:cxn ang="0">
                      <a:pos x="143" y="56"/>
                    </a:cxn>
                    <a:cxn ang="0">
                      <a:pos x="231" y="80"/>
                    </a:cxn>
                    <a:cxn ang="0">
                      <a:pos x="263" y="40"/>
                    </a:cxn>
                    <a:cxn ang="0">
                      <a:pos x="334" y="24"/>
                    </a:cxn>
                    <a:cxn ang="0">
                      <a:pos x="406" y="56"/>
                    </a:cxn>
                    <a:cxn ang="0">
                      <a:pos x="406" y="382"/>
                    </a:cxn>
                    <a:cxn ang="0">
                      <a:pos x="374" y="382"/>
                    </a:cxn>
                    <a:cxn ang="0">
                      <a:pos x="374" y="398"/>
                    </a:cxn>
                    <a:cxn ang="0">
                      <a:pos x="191" y="335"/>
                    </a:cxn>
                    <a:cxn ang="0">
                      <a:pos x="143" y="350"/>
                    </a:cxn>
                  </a:cxnLst>
                  <a:rect l="0" t="0" r="r" b="b"/>
                  <a:pathLst>
                    <a:path w="407" h="399">
                      <a:moveTo>
                        <a:pt x="143" y="350"/>
                      </a:moveTo>
                      <a:lnTo>
                        <a:pt x="64" y="311"/>
                      </a:lnTo>
                      <a:lnTo>
                        <a:pt x="0" y="255"/>
                      </a:lnTo>
                      <a:lnTo>
                        <a:pt x="0" y="56"/>
                      </a:lnTo>
                      <a:lnTo>
                        <a:pt x="64" y="0"/>
                      </a:lnTo>
                      <a:lnTo>
                        <a:pt x="135" y="24"/>
                      </a:lnTo>
                      <a:lnTo>
                        <a:pt x="143" y="56"/>
                      </a:lnTo>
                      <a:lnTo>
                        <a:pt x="231" y="80"/>
                      </a:lnTo>
                      <a:lnTo>
                        <a:pt x="263" y="40"/>
                      </a:lnTo>
                      <a:lnTo>
                        <a:pt x="334" y="24"/>
                      </a:lnTo>
                      <a:lnTo>
                        <a:pt x="406" y="56"/>
                      </a:lnTo>
                      <a:lnTo>
                        <a:pt x="406" y="382"/>
                      </a:lnTo>
                      <a:lnTo>
                        <a:pt x="374" y="382"/>
                      </a:lnTo>
                      <a:lnTo>
                        <a:pt x="374" y="398"/>
                      </a:lnTo>
                      <a:lnTo>
                        <a:pt x="191" y="335"/>
                      </a:lnTo>
                      <a:lnTo>
                        <a:pt x="143" y="35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4" name="Freeform 35"/>
                <p:cNvSpPr>
                  <a:spLocks/>
                </p:cNvSpPr>
                <p:nvPr/>
              </p:nvSpPr>
              <p:spPr bwMode="auto">
                <a:xfrm>
                  <a:off x="2750" y="1077"/>
                  <a:ext cx="265" cy="272"/>
                </a:xfrm>
                <a:custGeom>
                  <a:avLst/>
                  <a:gdLst/>
                  <a:ahLst/>
                  <a:cxnLst>
                    <a:cxn ang="0">
                      <a:pos x="0" y="271"/>
                    </a:cxn>
                    <a:cxn ang="0">
                      <a:pos x="0" y="0"/>
                    </a:cxn>
                    <a:cxn ang="0">
                      <a:pos x="55" y="8"/>
                    </a:cxn>
                    <a:cxn ang="0">
                      <a:pos x="71" y="8"/>
                    </a:cxn>
                    <a:cxn ang="0">
                      <a:pos x="143" y="8"/>
                    </a:cxn>
                    <a:cxn ang="0">
                      <a:pos x="198" y="0"/>
                    </a:cxn>
                    <a:cxn ang="0">
                      <a:pos x="230" y="40"/>
                    </a:cxn>
                    <a:cxn ang="0">
                      <a:pos x="214" y="96"/>
                    </a:cxn>
                    <a:cxn ang="0">
                      <a:pos x="158" y="40"/>
                    </a:cxn>
                    <a:cxn ang="0">
                      <a:pos x="286" y="271"/>
                    </a:cxn>
                    <a:cxn ang="0">
                      <a:pos x="0" y="271"/>
                    </a:cxn>
                  </a:cxnLst>
                  <a:rect l="0" t="0" r="r" b="b"/>
                  <a:pathLst>
                    <a:path w="287" h="272">
                      <a:moveTo>
                        <a:pt x="0" y="271"/>
                      </a:moveTo>
                      <a:lnTo>
                        <a:pt x="0" y="0"/>
                      </a:lnTo>
                      <a:lnTo>
                        <a:pt x="55" y="8"/>
                      </a:lnTo>
                      <a:lnTo>
                        <a:pt x="71" y="8"/>
                      </a:lnTo>
                      <a:lnTo>
                        <a:pt x="143" y="8"/>
                      </a:lnTo>
                      <a:lnTo>
                        <a:pt x="198" y="0"/>
                      </a:lnTo>
                      <a:lnTo>
                        <a:pt x="230" y="40"/>
                      </a:lnTo>
                      <a:lnTo>
                        <a:pt x="214" y="96"/>
                      </a:lnTo>
                      <a:lnTo>
                        <a:pt x="158" y="40"/>
                      </a:lnTo>
                      <a:lnTo>
                        <a:pt x="286" y="271"/>
                      </a:lnTo>
                      <a:lnTo>
                        <a:pt x="0" y="271"/>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5" name="Freeform 36"/>
                <p:cNvSpPr>
                  <a:spLocks/>
                </p:cNvSpPr>
                <p:nvPr/>
              </p:nvSpPr>
              <p:spPr bwMode="auto">
                <a:xfrm>
                  <a:off x="2471" y="1356"/>
                  <a:ext cx="250" cy="414"/>
                </a:xfrm>
                <a:custGeom>
                  <a:avLst/>
                  <a:gdLst/>
                  <a:ahLst/>
                  <a:cxnLst>
                    <a:cxn ang="0">
                      <a:pos x="39" y="357"/>
                    </a:cxn>
                    <a:cxn ang="0">
                      <a:pos x="55" y="286"/>
                    </a:cxn>
                    <a:cxn ang="0">
                      <a:pos x="16" y="270"/>
                    </a:cxn>
                    <a:cxn ang="0">
                      <a:pos x="0" y="230"/>
                    </a:cxn>
                    <a:cxn ang="0">
                      <a:pos x="0" y="174"/>
                    </a:cxn>
                    <a:cxn ang="0">
                      <a:pos x="39" y="143"/>
                    </a:cxn>
                    <a:cxn ang="0">
                      <a:pos x="39" y="15"/>
                    </a:cxn>
                    <a:cxn ang="0">
                      <a:pos x="87" y="0"/>
                    </a:cxn>
                    <a:cxn ang="0">
                      <a:pos x="270" y="63"/>
                    </a:cxn>
                    <a:cxn ang="0">
                      <a:pos x="270" y="190"/>
                    </a:cxn>
                    <a:cxn ang="0">
                      <a:pos x="230" y="190"/>
                    </a:cxn>
                    <a:cxn ang="0">
                      <a:pos x="230" y="270"/>
                    </a:cxn>
                    <a:cxn ang="0">
                      <a:pos x="262" y="342"/>
                    </a:cxn>
                    <a:cxn ang="0">
                      <a:pos x="182" y="373"/>
                    </a:cxn>
                    <a:cxn ang="0">
                      <a:pos x="111" y="413"/>
                    </a:cxn>
                    <a:cxn ang="0">
                      <a:pos x="71" y="413"/>
                    </a:cxn>
                    <a:cxn ang="0">
                      <a:pos x="39" y="357"/>
                    </a:cxn>
                  </a:cxnLst>
                  <a:rect l="0" t="0" r="r" b="b"/>
                  <a:pathLst>
                    <a:path w="271" h="414">
                      <a:moveTo>
                        <a:pt x="39" y="357"/>
                      </a:moveTo>
                      <a:lnTo>
                        <a:pt x="55" y="286"/>
                      </a:lnTo>
                      <a:lnTo>
                        <a:pt x="16" y="270"/>
                      </a:lnTo>
                      <a:lnTo>
                        <a:pt x="0" y="230"/>
                      </a:lnTo>
                      <a:lnTo>
                        <a:pt x="0" y="174"/>
                      </a:lnTo>
                      <a:lnTo>
                        <a:pt x="39" y="143"/>
                      </a:lnTo>
                      <a:lnTo>
                        <a:pt x="39" y="15"/>
                      </a:lnTo>
                      <a:lnTo>
                        <a:pt x="87" y="0"/>
                      </a:lnTo>
                      <a:lnTo>
                        <a:pt x="270" y="63"/>
                      </a:lnTo>
                      <a:lnTo>
                        <a:pt x="270" y="190"/>
                      </a:lnTo>
                      <a:lnTo>
                        <a:pt x="230" y="190"/>
                      </a:lnTo>
                      <a:lnTo>
                        <a:pt x="230" y="270"/>
                      </a:lnTo>
                      <a:lnTo>
                        <a:pt x="262" y="342"/>
                      </a:lnTo>
                      <a:lnTo>
                        <a:pt x="182" y="373"/>
                      </a:lnTo>
                      <a:lnTo>
                        <a:pt x="111" y="413"/>
                      </a:lnTo>
                      <a:lnTo>
                        <a:pt x="71" y="413"/>
                      </a:lnTo>
                      <a:lnTo>
                        <a:pt x="39" y="357"/>
                      </a:lnTo>
                    </a:path>
                  </a:pathLst>
                </a:custGeom>
                <a:grpFill/>
                <a:ln w="6350" cap="rnd">
                  <a:solidFill>
                    <a:schemeClr val="bg1">
                      <a:lumMod val="50000"/>
                    </a:schemeClr>
                  </a:solidFill>
                  <a:round/>
                  <a:headEnd/>
                  <a:tailEnd/>
                </a:ln>
                <a:effectLst/>
              </p:spPr>
              <p:txBody>
                <a:bodyPr/>
                <a:lstStyle/>
                <a:p>
                  <a:endParaRPr lang="en-GB" sz="2215" dirty="0"/>
                </a:p>
              </p:txBody>
            </p:sp>
            <p:sp>
              <p:nvSpPr>
                <p:cNvPr id="126" name="Freeform 37"/>
                <p:cNvSpPr>
                  <a:spLocks/>
                </p:cNvSpPr>
                <p:nvPr/>
              </p:nvSpPr>
              <p:spPr bwMode="auto">
                <a:xfrm>
                  <a:off x="2471" y="1356"/>
                  <a:ext cx="250" cy="414"/>
                </a:xfrm>
                <a:custGeom>
                  <a:avLst/>
                  <a:gdLst/>
                  <a:ahLst/>
                  <a:cxnLst>
                    <a:cxn ang="0">
                      <a:pos x="39" y="357"/>
                    </a:cxn>
                    <a:cxn ang="0">
                      <a:pos x="55" y="286"/>
                    </a:cxn>
                    <a:cxn ang="0">
                      <a:pos x="16" y="270"/>
                    </a:cxn>
                    <a:cxn ang="0">
                      <a:pos x="0" y="230"/>
                    </a:cxn>
                    <a:cxn ang="0">
                      <a:pos x="0" y="174"/>
                    </a:cxn>
                    <a:cxn ang="0">
                      <a:pos x="39" y="143"/>
                    </a:cxn>
                    <a:cxn ang="0">
                      <a:pos x="39" y="15"/>
                    </a:cxn>
                    <a:cxn ang="0">
                      <a:pos x="87" y="0"/>
                    </a:cxn>
                    <a:cxn ang="0">
                      <a:pos x="270" y="63"/>
                    </a:cxn>
                    <a:cxn ang="0">
                      <a:pos x="270" y="190"/>
                    </a:cxn>
                    <a:cxn ang="0">
                      <a:pos x="230" y="190"/>
                    </a:cxn>
                    <a:cxn ang="0">
                      <a:pos x="230" y="270"/>
                    </a:cxn>
                    <a:cxn ang="0">
                      <a:pos x="262" y="342"/>
                    </a:cxn>
                    <a:cxn ang="0">
                      <a:pos x="182" y="373"/>
                    </a:cxn>
                    <a:cxn ang="0">
                      <a:pos x="111" y="413"/>
                    </a:cxn>
                    <a:cxn ang="0">
                      <a:pos x="71" y="413"/>
                    </a:cxn>
                    <a:cxn ang="0">
                      <a:pos x="39" y="357"/>
                    </a:cxn>
                  </a:cxnLst>
                  <a:rect l="0" t="0" r="r" b="b"/>
                  <a:pathLst>
                    <a:path w="271" h="414">
                      <a:moveTo>
                        <a:pt x="39" y="357"/>
                      </a:moveTo>
                      <a:lnTo>
                        <a:pt x="55" y="286"/>
                      </a:lnTo>
                      <a:lnTo>
                        <a:pt x="16" y="270"/>
                      </a:lnTo>
                      <a:lnTo>
                        <a:pt x="0" y="230"/>
                      </a:lnTo>
                      <a:lnTo>
                        <a:pt x="0" y="174"/>
                      </a:lnTo>
                      <a:lnTo>
                        <a:pt x="39" y="143"/>
                      </a:lnTo>
                      <a:lnTo>
                        <a:pt x="39" y="15"/>
                      </a:lnTo>
                      <a:lnTo>
                        <a:pt x="87" y="0"/>
                      </a:lnTo>
                      <a:lnTo>
                        <a:pt x="270" y="63"/>
                      </a:lnTo>
                      <a:lnTo>
                        <a:pt x="270" y="190"/>
                      </a:lnTo>
                      <a:lnTo>
                        <a:pt x="230" y="190"/>
                      </a:lnTo>
                      <a:lnTo>
                        <a:pt x="230" y="270"/>
                      </a:lnTo>
                      <a:lnTo>
                        <a:pt x="262" y="342"/>
                      </a:lnTo>
                      <a:lnTo>
                        <a:pt x="182" y="373"/>
                      </a:lnTo>
                      <a:lnTo>
                        <a:pt x="111" y="413"/>
                      </a:lnTo>
                      <a:lnTo>
                        <a:pt x="71" y="413"/>
                      </a:lnTo>
                      <a:lnTo>
                        <a:pt x="39" y="357"/>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7" name="Freeform 38"/>
                <p:cNvSpPr>
                  <a:spLocks/>
                </p:cNvSpPr>
                <p:nvPr/>
              </p:nvSpPr>
              <p:spPr bwMode="auto">
                <a:xfrm>
                  <a:off x="2683" y="1348"/>
                  <a:ext cx="368" cy="549"/>
                </a:xfrm>
                <a:custGeom>
                  <a:avLst/>
                  <a:gdLst/>
                  <a:ahLst/>
                  <a:cxnLst>
                    <a:cxn ang="0">
                      <a:pos x="72" y="0"/>
                    </a:cxn>
                    <a:cxn ang="0">
                      <a:pos x="358" y="0"/>
                    </a:cxn>
                    <a:cxn ang="0">
                      <a:pos x="397" y="111"/>
                    </a:cxn>
                    <a:cxn ang="0">
                      <a:pos x="373" y="127"/>
                    </a:cxn>
                    <a:cxn ang="0">
                      <a:pos x="373" y="254"/>
                    </a:cxn>
                    <a:cxn ang="0">
                      <a:pos x="318" y="326"/>
                    </a:cxn>
                    <a:cxn ang="0">
                      <a:pos x="318" y="397"/>
                    </a:cxn>
                    <a:cxn ang="0">
                      <a:pos x="286" y="413"/>
                    </a:cxn>
                    <a:cxn ang="0">
                      <a:pos x="358" y="509"/>
                    </a:cxn>
                    <a:cxn ang="0">
                      <a:pos x="318" y="524"/>
                    </a:cxn>
                    <a:cxn ang="0">
                      <a:pos x="286" y="548"/>
                    </a:cxn>
                    <a:cxn ang="0">
                      <a:pos x="215" y="548"/>
                    </a:cxn>
                    <a:cxn ang="0">
                      <a:pos x="183" y="524"/>
                    </a:cxn>
                    <a:cxn ang="0">
                      <a:pos x="127" y="493"/>
                    </a:cxn>
                    <a:cxn ang="0">
                      <a:pos x="87" y="421"/>
                    </a:cxn>
                    <a:cxn ang="0">
                      <a:pos x="32" y="350"/>
                    </a:cxn>
                    <a:cxn ang="0">
                      <a:pos x="0" y="278"/>
                    </a:cxn>
                    <a:cxn ang="0">
                      <a:pos x="0" y="198"/>
                    </a:cxn>
                    <a:cxn ang="0">
                      <a:pos x="40" y="198"/>
                    </a:cxn>
                    <a:cxn ang="0">
                      <a:pos x="40" y="55"/>
                    </a:cxn>
                    <a:cxn ang="0">
                      <a:pos x="72" y="55"/>
                    </a:cxn>
                    <a:cxn ang="0">
                      <a:pos x="72" y="0"/>
                    </a:cxn>
                  </a:cxnLst>
                  <a:rect l="0" t="0" r="r" b="b"/>
                  <a:pathLst>
                    <a:path w="398" h="549">
                      <a:moveTo>
                        <a:pt x="72" y="0"/>
                      </a:moveTo>
                      <a:lnTo>
                        <a:pt x="358" y="0"/>
                      </a:lnTo>
                      <a:lnTo>
                        <a:pt x="397" y="111"/>
                      </a:lnTo>
                      <a:lnTo>
                        <a:pt x="373" y="127"/>
                      </a:lnTo>
                      <a:lnTo>
                        <a:pt x="373" y="254"/>
                      </a:lnTo>
                      <a:lnTo>
                        <a:pt x="318" y="326"/>
                      </a:lnTo>
                      <a:lnTo>
                        <a:pt x="318" y="397"/>
                      </a:lnTo>
                      <a:lnTo>
                        <a:pt x="286" y="413"/>
                      </a:lnTo>
                      <a:lnTo>
                        <a:pt x="358" y="509"/>
                      </a:lnTo>
                      <a:lnTo>
                        <a:pt x="318" y="524"/>
                      </a:lnTo>
                      <a:lnTo>
                        <a:pt x="286" y="548"/>
                      </a:lnTo>
                      <a:lnTo>
                        <a:pt x="215" y="548"/>
                      </a:lnTo>
                      <a:lnTo>
                        <a:pt x="183" y="524"/>
                      </a:lnTo>
                      <a:lnTo>
                        <a:pt x="127" y="493"/>
                      </a:lnTo>
                      <a:lnTo>
                        <a:pt x="87" y="421"/>
                      </a:lnTo>
                      <a:lnTo>
                        <a:pt x="32" y="350"/>
                      </a:lnTo>
                      <a:lnTo>
                        <a:pt x="0" y="278"/>
                      </a:lnTo>
                      <a:lnTo>
                        <a:pt x="0" y="198"/>
                      </a:lnTo>
                      <a:lnTo>
                        <a:pt x="40" y="198"/>
                      </a:lnTo>
                      <a:lnTo>
                        <a:pt x="40" y="55"/>
                      </a:lnTo>
                      <a:lnTo>
                        <a:pt x="72" y="55"/>
                      </a:lnTo>
                      <a:lnTo>
                        <a:pt x="72"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8" name="Freeform 39"/>
                <p:cNvSpPr>
                  <a:spLocks/>
                </p:cNvSpPr>
                <p:nvPr/>
              </p:nvSpPr>
              <p:spPr bwMode="auto">
                <a:xfrm>
                  <a:off x="2947" y="1459"/>
                  <a:ext cx="360" cy="438"/>
                </a:xfrm>
                <a:custGeom>
                  <a:avLst/>
                  <a:gdLst/>
                  <a:ahLst/>
                  <a:cxnLst>
                    <a:cxn ang="0">
                      <a:pos x="111" y="0"/>
                    </a:cxn>
                    <a:cxn ang="0">
                      <a:pos x="87" y="16"/>
                    </a:cxn>
                    <a:cxn ang="0">
                      <a:pos x="87" y="143"/>
                    </a:cxn>
                    <a:cxn ang="0">
                      <a:pos x="32" y="215"/>
                    </a:cxn>
                    <a:cxn ang="0">
                      <a:pos x="32" y="286"/>
                    </a:cxn>
                    <a:cxn ang="0">
                      <a:pos x="0" y="302"/>
                    </a:cxn>
                    <a:cxn ang="0">
                      <a:pos x="72" y="398"/>
                    </a:cxn>
                    <a:cxn ang="0">
                      <a:pos x="143" y="437"/>
                    </a:cxn>
                    <a:cxn ang="0">
                      <a:pos x="238" y="437"/>
                    </a:cxn>
                    <a:cxn ang="0">
                      <a:pos x="286" y="429"/>
                    </a:cxn>
                    <a:cxn ang="0">
                      <a:pos x="389" y="302"/>
                    </a:cxn>
                    <a:cxn ang="0">
                      <a:pos x="270" y="270"/>
                    </a:cxn>
                    <a:cxn ang="0">
                      <a:pos x="215" y="215"/>
                    </a:cxn>
                    <a:cxn ang="0">
                      <a:pos x="254" y="199"/>
                    </a:cxn>
                    <a:cxn ang="0">
                      <a:pos x="143" y="56"/>
                    </a:cxn>
                    <a:cxn ang="0">
                      <a:pos x="111" y="0"/>
                    </a:cxn>
                  </a:cxnLst>
                  <a:rect l="0" t="0" r="r" b="b"/>
                  <a:pathLst>
                    <a:path w="390" h="438">
                      <a:moveTo>
                        <a:pt x="111" y="0"/>
                      </a:moveTo>
                      <a:lnTo>
                        <a:pt x="87" y="16"/>
                      </a:lnTo>
                      <a:lnTo>
                        <a:pt x="87" y="143"/>
                      </a:lnTo>
                      <a:lnTo>
                        <a:pt x="32" y="215"/>
                      </a:lnTo>
                      <a:lnTo>
                        <a:pt x="32" y="286"/>
                      </a:lnTo>
                      <a:lnTo>
                        <a:pt x="0" y="302"/>
                      </a:lnTo>
                      <a:lnTo>
                        <a:pt x="72" y="398"/>
                      </a:lnTo>
                      <a:lnTo>
                        <a:pt x="143" y="437"/>
                      </a:lnTo>
                      <a:lnTo>
                        <a:pt x="238" y="437"/>
                      </a:lnTo>
                      <a:lnTo>
                        <a:pt x="286" y="429"/>
                      </a:lnTo>
                      <a:lnTo>
                        <a:pt x="389" y="302"/>
                      </a:lnTo>
                      <a:lnTo>
                        <a:pt x="270" y="270"/>
                      </a:lnTo>
                      <a:lnTo>
                        <a:pt x="215" y="215"/>
                      </a:lnTo>
                      <a:lnTo>
                        <a:pt x="254" y="199"/>
                      </a:lnTo>
                      <a:lnTo>
                        <a:pt x="143" y="56"/>
                      </a:lnTo>
                      <a:lnTo>
                        <a:pt x="111"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29" name="Freeform 40"/>
                <p:cNvSpPr>
                  <a:spLocks/>
                </p:cNvSpPr>
                <p:nvPr/>
              </p:nvSpPr>
              <p:spPr bwMode="auto">
                <a:xfrm>
                  <a:off x="3146" y="1658"/>
                  <a:ext cx="59" cy="41"/>
                </a:xfrm>
                <a:custGeom>
                  <a:avLst/>
                  <a:gdLst/>
                  <a:ahLst/>
                  <a:cxnLst>
                    <a:cxn ang="0">
                      <a:pos x="0" y="16"/>
                    </a:cxn>
                    <a:cxn ang="0">
                      <a:pos x="39" y="0"/>
                    </a:cxn>
                    <a:cxn ang="0">
                      <a:pos x="63" y="32"/>
                    </a:cxn>
                    <a:cxn ang="0">
                      <a:pos x="31" y="40"/>
                    </a:cxn>
                    <a:cxn ang="0">
                      <a:pos x="0" y="16"/>
                    </a:cxn>
                  </a:cxnLst>
                  <a:rect l="0" t="0" r="r" b="b"/>
                  <a:pathLst>
                    <a:path w="64" h="41">
                      <a:moveTo>
                        <a:pt x="0" y="16"/>
                      </a:moveTo>
                      <a:lnTo>
                        <a:pt x="39" y="0"/>
                      </a:lnTo>
                      <a:lnTo>
                        <a:pt x="63" y="32"/>
                      </a:lnTo>
                      <a:lnTo>
                        <a:pt x="31" y="40"/>
                      </a:lnTo>
                      <a:lnTo>
                        <a:pt x="0" y="16"/>
                      </a:lnTo>
                    </a:path>
                  </a:pathLst>
                </a:custGeom>
                <a:grpFill/>
                <a:ln w="6350" cap="rnd">
                  <a:solidFill>
                    <a:schemeClr val="bg1">
                      <a:lumMod val="50000"/>
                    </a:schemeClr>
                  </a:solidFill>
                  <a:round/>
                  <a:headEnd/>
                  <a:tailEnd/>
                </a:ln>
                <a:effectLst/>
              </p:spPr>
              <p:txBody>
                <a:bodyPr/>
                <a:lstStyle/>
                <a:p>
                  <a:endParaRPr lang="en-GB" sz="2215" dirty="0"/>
                </a:p>
              </p:txBody>
            </p:sp>
            <p:sp>
              <p:nvSpPr>
                <p:cNvPr id="130" name="Freeform 41"/>
                <p:cNvSpPr>
                  <a:spLocks/>
                </p:cNvSpPr>
                <p:nvPr/>
              </p:nvSpPr>
              <p:spPr bwMode="auto">
                <a:xfrm>
                  <a:off x="3146" y="1658"/>
                  <a:ext cx="59" cy="41"/>
                </a:xfrm>
                <a:custGeom>
                  <a:avLst/>
                  <a:gdLst/>
                  <a:ahLst/>
                  <a:cxnLst>
                    <a:cxn ang="0">
                      <a:pos x="0" y="16"/>
                    </a:cxn>
                    <a:cxn ang="0">
                      <a:pos x="39" y="0"/>
                    </a:cxn>
                    <a:cxn ang="0">
                      <a:pos x="63" y="32"/>
                    </a:cxn>
                    <a:cxn ang="0">
                      <a:pos x="31" y="40"/>
                    </a:cxn>
                    <a:cxn ang="0">
                      <a:pos x="0" y="16"/>
                    </a:cxn>
                  </a:cxnLst>
                  <a:rect l="0" t="0" r="r" b="b"/>
                  <a:pathLst>
                    <a:path w="64" h="41">
                      <a:moveTo>
                        <a:pt x="0" y="16"/>
                      </a:moveTo>
                      <a:lnTo>
                        <a:pt x="39" y="0"/>
                      </a:lnTo>
                      <a:lnTo>
                        <a:pt x="63" y="32"/>
                      </a:lnTo>
                      <a:lnTo>
                        <a:pt x="31" y="40"/>
                      </a:lnTo>
                      <a:lnTo>
                        <a:pt x="0" y="16"/>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1" name="Freeform 42"/>
                <p:cNvSpPr>
                  <a:spLocks/>
                </p:cNvSpPr>
                <p:nvPr/>
              </p:nvSpPr>
              <p:spPr bwMode="auto">
                <a:xfrm>
                  <a:off x="3146" y="1674"/>
                  <a:ext cx="52" cy="56"/>
                </a:xfrm>
                <a:custGeom>
                  <a:avLst/>
                  <a:gdLst/>
                  <a:ahLst/>
                  <a:cxnLst>
                    <a:cxn ang="0">
                      <a:pos x="31" y="24"/>
                    </a:cxn>
                    <a:cxn ang="0">
                      <a:pos x="55" y="55"/>
                    </a:cxn>
                    <a:cxn ang="0">
                      <a:pos x="0" y="0"/>
                    </a:cxn>
                    <a:cxn ang="0">
                      <a:pos x="31" y="24"/>
                    </a:cxn>
                  </a:cxnLst>
                  <a:rect l="0" t="0" r="r" b="b"/>
                  <a:pathLst>
                    <a:path w="56" h="56">
                      <a:moveTo>
                        <a:pt x="31" y="24"/>
                      </a:moveTo>
                      <a:lnTo>
                        <a:pt x="55" y="55"/>
                      </a:lnTo>
                      <a:lnTo>
                        <a:pt x="0" y="0"/>
                      </a:lnTo>
                      <a:lnTo>
                        <a:pt x="31" y="24"/>
                      </a:lnTo>
                    </a:path>
                  </a:pathLst>
                </a:custGeom>
                <a:grpFill/>
                <a:ln w="6350" cap="rnd">
                  <a:solidFill>
                    <a:schemeClr val="bg1">
                      <a:lumMod val="50000"/>
                    </a:schemeClr>
                  </a:solidFill>
                  <a:round/>
                  <a:headEnd/>
                  <a:tailEnd/>
                </a:ln>
                <a:effectLst/>
              </p:spPr>
              <p:txBody>
                <a:bodyPr/>
                <a:lstStyle/>
                <a:p>
                  <a:endParaRPr lang="en-GB" sz="2215" dirty="0"/>
                </a:p>
              </p:txBody>
            </p:sp>
            <p:sp>
              <p:nvSpPr>
                <p:cNvPr id="132" name="Freeform 43"/>
                <p:cNvSpPr>
                  <a:spLocks/>
                </p:cNvSpPr>
                <p:nvPr/>
              </p:nvSpPr>
              <p:spPr bwMode="auto">
                <a:xfrm>
                  <a:off x="3146" y="1674"/>
                  <a:ext cx="52" cy="56"/>
                </a:xfrm>
                <a:custGeom>
                  <a:avLst/>
                  <a:gdLst/>
                  <a:ahLst/>
                  <a:cxnLst>
                    <a:cxn ang="0">
                      <a:pos x="31" y="24"/>
                    </a:cxn>
                    <a:cxn ang="0">
                      <a:pos x="55" y="55"/>
                    </a:cxn>
                    <a:cxn ang="0">
                      <a:pos x="0" y="0"/>
                    </a:cxn>
                  </a:cxnLst>
                  <a:rect l="0" t="0" r="r" b="b"/>
                  <a:pathLst>
                    <a:path w="56" h="56">
                      <a:moveTo>
                        <a:pt x="31" y="24"/>
                      </a:moveTo>
                      <a:lnTo>
                        <a:pt x="55" y="55"/>
                      </a:lnTo>
                      <a:lnTo>
                        <a:pt x="0"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3" name="Freeform 44"/>
                <p:cNvSpPr>
                  <a:spLocks/>
                </p:cNvSpPr>
                <p:nvPr/>
              </p:nvSpPr>
              <p:spPr bwMode="auto">
                <a:xfrm>
                  <a:off x="3146" y="1642"/>
                  <a:ext cx="228" cy="414"/>
                </a:xfrm>
                <a:custGeom>
                  <a:avLst/>
                  <a:gdLst/>
                  <a:ahLst/>
                  <a:cxnLst>
                    <a:cxn ang="0">
                      <a:pos x="63" y="48"/>
                    </a:cxn>
                    <a:cxn ang="0">
                      <a:pos x="31" y="56"/>
                    </a:cxn>
                    <a:cxn ang="0">
                      <a:pos x="55" y="87"/>
                    </a:cxn>
                    <a:cxn ang="0">
                      <a:pos x="174" y="119"/>
                    </a:cxn>
                    <a:cxn ang="0">
                      <a:pos x="71" y="246"/>
                    </a:cxn>
                    <a:cxn ang="0">
                      <a:pos x="31" y="254"/>
                    </a:cxn>
                    <a:cxn ang="0">
                      <a:pos x="0" y="302"/>
                    </a:cxn>
                    <a:cxn ang="0">
                      <a:pos x="0" y="413"/>
                    </a:cxn>
                    <a:cxn ang="0">
                      <a:pos x="119" y="286"/>
                    </a:cxn>
                    <a:cxn ang="0">
                      <a:pos x="230" y="143"/>
                    </a:cxn>
                    <a:cxn ang="0">
                      <a:pos x="246" y="0"/>
                    </a:cxn>
                    <a:cxn ang="0">
                      <a:pos x="174" y="16"/>
                    </a:cxn>
                    <a:cxn ang="0">
                      <a:pos x="119" y="48"/>
                    </a:cxn>
                    <a:cxn ang="0">
                      <a:pos x="63" y="48"/>
                    </a:cxn>
                  </a:cxnLst>
                  <a:rect l="0" t="0" r="r" b="b"/>
                  <a:pathLst>
                    <a:path w="247" h="414">
                      <a:moveTo>
                        <a:pt x="63" y="48"/>
                      </a:moveTo>
                      <a:lnTo>
                        <a:pt x="31" y="56"/>
                      </a:lnTo>
                      <a:lnTo>
                        <a:pt x="55" y="87"/>
                      </a:lnTo>
                      <a:lnTo>
                        <a:pt x="174" y="119"/>
                      </a:lnTo>
                      <a:lnTo>
                        <a:pt x="71" y="246"/>
                      </a:lnTo>
                      <a:lnTo>
                        <a:pt x="31" y="254"/>
                      </a:lnTo>
                      <a:lnTo>
                        <a:pt x="0" y="302"/>
                      </a:lnTo>
                      <a:lnTo>
                        <a:pt x="0" y="413"/>
                      </a:lnTo>
                      <a:lnTo>
                        <a:pt x="119" y="286"/>
                      </a:lnTo>
                      <a:lnTo>
                        <a:pt x="230" y="143"/>
                      </a:lnTo>
                      <a:lnTo>
                        <a:pt x="246" y="0"/>
                      </a:lnTo>
                      <a:lnTo>
                        <a:pt x="174" y="16"/>
                      </a:lnTo>
                      <a:lnTo>
                        <a:pt x="119" y="48"/>
                      </a:lnTo>
                      <a:lnTo>
                        <a:pt x="63" y="4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4" name="Freeform 45"/>
                <p:cNvSpPr>
                  <a:spLocks/>
                </p:cNvSpPr>
                <p:nvPr/>
              </p:nvSpPr>
              <p:spPr bwMode="auto">
                <a:xfrm>
                  <a:off x="2354" y="1698"/>
                  <a:ext cx="198" cy="231"/>
                </a:xfrm>
                <a:custGeom>
                  <a:avLst/>
                  <a:gdLst/>
                  <a:ahLst/>
                  <a:cxnLst>
                    <a:cxn ang="0">
                      <a:pos x="198" y="71"/>
                    </a:cxn>
                    <a:cxn ang="0">
                      <a:pos x="166" y="15"/>
                    </a:cxn>
                    <a:cxn ang="0">
                      <a:pos x="127" y="0"/>
                    </a:cxn>
                    <a:cxn ang="0">
                      <a:pos x="127" y="47"/>
                    </a:cxn>
                    <a:cxn ang="0">
                      <a:pos x="55" y="119"/>
                    </a:cxn>
                    <a:cxn ang="0">
                      <a:pos x="15" y="119"/>
                    </a:cxn>
                    <a:cxn ang="0">
                      <a:pos x="0" y="174"/>
                    </a:cxn>
                    <a:cxn ang="0">
                      <a:pos x="23" y="214"/>
                    </a:cxn>
                    <a:cxn ang="0">
                      <a:pos x="71" y="214"/>
                    </a:cxn>
                    <a:cxn ang="0">
                      <a:pos x="143" y="230"/>
                    </a:cxn>
                    <a:cxn ang="0">
                      <a:pos x="166" y="214"/>
                    </a:cxn>
                    <a:cxn ang="0">
                      <a:pos x="214" y="230"/>
                    </a:cxn>
                    <a:cxn ang="0">
                      <a:pos x="198" y="190"/>
                    </a:cxn>
                    <a:cxn ang="0">
                      <a:pos x="182" y="127"/>
                    </a:cxn>
                    <a:cxn ang="0">
                      <a:pos x="198" y="71"/>
                    </a:cxn>
                  </a:cxnLst>
                  <a:rect l="0" t="0" r="r" b="b"/>
                  <a:pathLst>
                    <a:path w="215" h="231">
                      <a:moveTo>
                        <a:pt x="198" y="71"/>
                      </a:moveTo>
                      <a:lnTo>
                        <a:pt x="166" y="15"/>
                      </a:lnTo>
                      <a:lnTo>
                        <a:pt x="127" y="0"/>
                      </a:lnTo>
                      <a:lnTo>
                        <a:pt x="127" y="47"/>
                      </a:lnTo>
                      <a:lnTo>
                        <a:pt x="55" y="119"/>
                      </a:lnTo>
                      <a:lnTo>
                        <a:pt x="15" y="119"/>
                      </a:lnTo>
                      <a:lnTo>
                        <a:pt x="0" y="174"/>
                      </a:lnTo>
                      <a:lnTo>
                        <a:pt x="23" y="214"/>
                      </a:lnTo>
                      <a:lnTo>
                        <a:pt x="71" y="214"/>
                      </a:lnTo>
                      <a:lnTo>
                        <a:pt x="143" y="230"/>
                      </a:lnTo>
                      <a:lnTo>
                        <a:pt x="166" y="214"/>
                      </a:lnTo>
                      <a:lnTo>
                        <a:pt x="214" y="230"/>
                      </a:lnTo>
                      <a:lnTo>
                        <a:pt x="198" y="190"/>
                      </a:lnTo>
                      <a:lnTo>
                        <a:pt x="182" y="127"/>
                      </a:lnTo>
                      <a:lnTo>
                        <a:pt x="198" y="71"/>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5" name="Freeform 46"/>
                <p:cNvSpPr>
                  <a:spLocks/>
                </p:cNvSpPr>
                <p:nvPr/>
              </p:nvSpPr>
              <p:spPr bwMode="auto">
                <a:xfrm>
                  <a:off x="2375" y="1912"/>
                  <a:ext cx="45" cy="49"/>
                </a:xfrm>
                <a:custGeom>
                  <a:avLst/>
                  <a:gdLst/>
                  <a:ahLst/>
                  <a:cxnLst>
                    <a:cxn ang="0">
                      <a:pos x="0" y="48"/>
                    </a:cxn>
                    <a:cxn ang="0">
                      <a:pos x="48" y="48"/>
                    </a:cxn>
                    <a:cxn ang="0">
                      <a:pos x="48" y="0"/>
                    </a:cxn>
                    <a:cxn ang="0">
                      <a:pos x="0" y="0"/>
                    </a:cxn>
                    <a:cxn ang="0">
                      <a:pos x="0" y="48"/>
                    </a:cxn>
                  </a:cxnLst>
                  <a:rect l="0" t="0" r="r" b="b"/>
                  <a:pathLst>
                    <a:path w="49" h="49">
                      <a:moveTo>
                        <a:pt x="0" y="48"/>
                      </a:moveTo>
                      <a:lnTo>
                        <a:pt x="48" y="48"/>
                      </a:lnTo>
                      <a:lnTo>
                        <a:pt x="48" y="0"/>
                      </a:lnTo>
                      <a:lnTo>
                        <a:pt x="0" y="0"/>
                      </a:lnTo>
                      <a:lnTo>
                        <a:pt x="0" y="48"/>
                      </a:lnTo>
                    </a:path>
                  </a:pathLst>
                </a:custGeom>
                <a:grpFill/>
                <a:ln w="6350" cap="rnd">
                  <a:solidFill>
                    <a:schemeClr val="bg1">
                      <a:lumMod val="50000"/>
                    </a:schemeClr>
                  </a:solidFill>
                  <a:round/>
                  <a:headEnd/>
                  <a:tailEnd/>
                </a:ln>
                <a:effectLst/>
              </p:spPr>
              <p:txBody>
                <a:bodyPr/>
                <a:lstStyle/>
                <a:p>
                  <a:endParaRPr lang="en-GB" sz="2215" dirty="0"/>
                </a:p>
              </p:txBody>
            </p:sp>
            <p:sp>
              <p:nvSpPr>
                <p:cNvPr id="136" name="Freeform 47"/>
                <p:cNvSpPr>
                  <a:spLocks/>
                </p:cNvSpPr>
                <p:nvPr/>
              </p:nvSpPr>
              <p:spPr bwMode="auto">
                <a:xfrm>
                  <a:off x="2375" y="1912"/>
                  <a:ext cx="45" cy="49"/>
                </a:xfrm>
                <a:custGeom>
                  <a:avLst/>
                  <a:gdLst/>
                  <a:ahLst/>
                  <a:cxnLst>
                    <a:cxn ang="0">
                      <a:pos x="0" y="48"/>
                    </a:cxn>
                    <a:cxn ang="0">
                      <a:pos x="48" y="48"/>
                    </a:cxn>
                    <a:cxn ang="0">
                      <a:pos x="48" y="0"/>
                    </a:cxn>
                    <a:cxn ang="0">
                      <a:pos x="0" y="0"/>
                    </a:cxn>
                    <a:cxn ang="0">
                      <a:pos x="0" y="48"/>
                    </a:cxn>
                  </a:cxnLst>
                  <a:rect l="0" t="0" r="r" b="b"/>
                  <a:pathLst>
                    <a:path w="49" h="49">
                      <a:moveTo>
                        <a:pt x="0" y="48"/>
                      </a:moveTo>
                      <a:lnTo>
                        <a:pt x="48" y="48"/>
                      </a:lnTo>
                      <a:lnTo>
                        <a:pt x="48" y="0"/>
                      </a:lnTo>
                      <a:lnTo>
                        <a:pt x="0" y="0"/>
                      </a:lnTo>
                      <a:lnTo>
                        <a:pt x="0" y="4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7" name="Freeform 48"/>
                <p:cNvSpPr>
                  <a:spLocks/>
                </p:cNvSpPr>
                <p:nvPr/>
              </p:nvSpPr>
              <p:spPr bwMode="auto">
                <a:xfrm>
                  <a:off x="2375" y="1912"/>
                  <a:ext cx="133" cy="184"/>
                </a:xfrm>
                <a:custGeom>
                  <a:avLst/>
                  <a:gdLst/>
                  <a:ahLst/>
                  <a:cxnLst>
                    <a:cxn ang="0">
                      <a:pos x="48" y="0"/>
                    </a:cxn>
                    <a:cxn ang="0">
                      <a:pos x="120" y="16"/>
                    </a:cxn>
                    <a:cxn ang="0">
                      <a:pos x="120" y="48"/>
                    </a:cxn>
                    <a:cxn ang="0">
                      <a:pos x="143" y="48"/>
                    </a:cxn>
                    <a:cxn ang="0">
                      <a:pos x="143" y="127"/>
                    </a:cxn>
                    <a:cxn ang="0">
                      <a:pos x="135" y="159"/>
                    </a:cxn>
                    <a:cxn ang="0">
                      <a:pos x="96" y="143"/>
                    </a:cxn>
                    <a:cxn ang="0">
                      <a:pos x="72" y="143"/>
                    </a:cxn>
                    <a:cxn ang="0">
                      <a:pos x="72" y="175"/>
                    </a:cxn>
                    <a:cxn ang="0">
                      <a:pos x="48" y="183"/>
                    </a:cxn>
                    <a:cxn ang="0">
                      <a:pos x="0" y="48"/>
                    </a:cxn>
                    <a:cxn ang="0">
                      <a:pos x="48" y="48"/>
                    </a:cxn>
                    <a:cxn ang="0">
                      <a:pos x="48" y="0"/>
                    </a:cxn>
                  </a:cxnLst>
                  <a:rect l="0" t="0" r="r" b="b"/>
                  <a:pathLst>
                    <a:path w="144" h="184">
                      <a:moveTo>
                        <a:pt x="48" y="0"/>
                      </a:moveTo>
                      <a:lnTo>
                        <a:pt x="120" y="16"/>
                      </a:lnTo>
                      <a:lnTo>
                        <a:pt x="120" y="48"/>
                      </a:lnTo>
                      <a:lnTo>
                        <a:pt x="143" y="48"/>
                      </a:lnTo>
                      <a:lnTo>
                        <a:pt x="143" y="127"/>
                      </a:lnTo>
                      <a:lnTo>
                        <a:pt x="135" y="159"/>
                      </a:lnTo>
                      <a:lnTo>
                        <a:pt x="96" y="143"/>
                      </a:lnTo>
                      <a:lnTo>
                        <a:pt x="72" y="143"/>
                      </a:lnTo>
                      <a:lnTo>
                        <a:pt x="72" y="175"/>
                      </a:lnTo>
                      <a:lnTo>
                        <a:pt x="48" y="183"/>
                      </a:lnTo>
                      <a:lnTo>
                        <a:pt x="0" y="48"/>
                      </a:lnTo>
                      <a:lnTo>
                        <a:pt x="48" y="48"/>
                      </a:lnTo>
                      <a:lnTo>
                        <a:pt x="48"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8" name="Freeform 49"/>
                <p:cNvSpPr>
                  <a:spLocks/>
                </p:cNvSpPr>
                <p:nvPr/>
              </p:nvSpPr>
              <p:spPr bwMode="auto">
                <a:xfrm>
                  <a:off x="2419" y="1888"/>
                  <a:ext cx="185" cy="240"/>
                </a:xfrm>
                <a:custGeom>
                  <a:avLst/>
                  <a:gdLst/>
                  <a:ahLst/>
                  <a:cxnLst>
                    <a:cxn ang="0">
                      <a:pos x="0" y="207"/>
                    </a:cxn>
                    <a:cxn ang="0">
                      <a:pos x="24" y="199"/>
                    </a:cxn>
                    <a:cxn ang="0">
                      <a:pos x="24" y="167"/>
                    </a:cxn>
                    <a:cxn ang="0">
                      <a:pos x="56" y="167"/>
                    </a:cxn>
                    <a:cxn ang="0">
                      <a:pos x="87" y="183"/>
                    </a:cxn>
                    <a:cxn ang="0">
                      <a:pos x="95" y="151"/>
                    </a:cxn>
                    <a:cxn ang="0">
                      <a:pos x="95" y="72"/>
                    </a:cxn>
                    <a:cxn ang="0">
                      <a:pos x="72" y="72"/>
                    </a:cxn>
                    <a:cxn ang="0">
                      <a:pos x="72" y="40"/>
                    </a:cxn>
                    <a:cxn ang="0">
                      <a:pos x="95" y="24"/>
                    </a:cxn>
                    <a:cxn ang="0">
                      <a:pos x="143" y="40"/>
                    </a:cxn>
                    <a:cxn ang="0">
                      <a:pos x="127" y="0"/>
                    </a:cxn>
                    <a:cxn ang="0">
                      <a:pos x="199" y="0"/>
                    </a:cxn>
                    <a:cxn ang="0">
                      <a:pos x="183" y="80"/>
                    </a:cxn>
                    <a:cxn ang="0">
                      <a:pos x="127" y="207"/>
                    </a:cxn>
                    <a:cxn ang="0">
                      <a:pos x="56" y="223"/>
                    </a:cxn>
                    <a:cxn ang="0">
                      <a:pos x="16" y="239"/>
                    </a:cxn>
                    <a:cxn ang="0">
                      <a:pos x="0" y="207"/>
                    </a:cxn>
                  </a:cxnLst>
                  <a:rect l="0" t="0" r="r" b="b"/>
                  <a:pathLst>
                    <a:path w="200" h="240">
                      <a:moveTo>
                        <a:pt x="0" y="207"/>
                      </a:moveTo>
                      <a:lnTo>
                        <a:pt x="24" y="199"/>
                      </a:lnTo>
                      <a:lnTo>
                        <a:pt x="24" y="167"/>
                      </a:lnTo>
                      <a:lnTo>
                        <a:pt x="56" y="167"/>
                      </a:lnTo>
                      <a:lnTo>
                        <a:pt x="87" y="183"/>
                      </a:lnTo>
                      <a:lnTo>
                        <a:pt x="95" y="151"/>
                      </a:lnTo>
                      <a:lnTo>
                        <a:pt x="95" y="72"/>
                      </a:lnTo>
                      <a:lnTo>
                        <a:pt x="72" y="72"/>
                      </a:lnTo>
                      <a:lnTo>
                        <a:pt x="72" y="40"/>
                      </a:lnTo>
                      <a:lnTo>
                        <a:pt x="95" y="24"/>
                      </a:lnTo>
                      <a:lnTo>
                        <a:pt x="143" y="40"/>
                      </a:lnTo>
                      <a:lnTo>
                        <a:pt x="127" y="0"/>
                      </a:lnTo>
                      <a:lnTo>
                        <a:pt x="199" y="0"/>
                      </a:lnTo>
                      <a:lnTo>
                        <a:pt x="183" y="80"/>
                      </a:lnTo>
                      <a:lnTo>
                        <a:pt x="127" y="207"/>
                      </a:lnTo>
                      <a:lnTo>
                        <a:pt x="56" y="223"/>
                      </a:lnTo>
                      <a:lnTo>
                        <a:pt x="16" y="239"/>
                      </a:lnTo>
                      <a:lnTo>
                        <a:pt x="0" y="207"/>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39" name="Freeform 50"/>
                <p:cNvSpPr>
                  <a:spLocks/>
                </p:cNvSpPr>
                <p:nvPr/>
              </p:nvSpPr>
              <p:spPr bwMode="auto">
                <a:xfrm>
                  <a:off x="2434" y="2111"/>
                  <a:ext cx="38" cy="49"/>
                </a:xfrm>
                <a:custGeom>
                  <a:avLst/>
                  <a:gdLst/>
                  <a:ahLst/>
                  <a:cxnLst>
                    <a:cxn ang="0">
                      <a:pos x="8" y="48"/>
                    </a:cxn>
                    <a:cxn ang="0">
                      <a:pos x="0" y="16"/>
                    </a:cxn>
                    <a:cxn ang="0">
                      <a:pos x="40" y="0"/>
                    </a:cxn>
                    <a:cxn ang="0">
                      <a:pos x="8" y="48"/>
                    </a:cxn>
                  </a:cxnLst>
                  <a:rect l="0" t="0" r="r" b="b"/>
                  <a:pathLst>
                    <a:path w="41" h="49">
                      <a:moveTo>
                        <a:pt x="8" y="48"/>
                      </a:moveTo>
                      <a:lnTo>
                        <a:pt x="0" y="16"/>
                      </a:lnTo>
                      <a:lnTo>
                        <a:pt x="40" y="0"/>
                      </a:lnTo>
                      <a:lnTo>
                        <a:pt x="8" y="48"/>
                      </a:lnTo>
                    </a:path>
                  </a:pathLst>
                </a:custGeom>
                <a:grpFill/>
                <a:ln w="6350" cap="rnd">
                  <a:solidFill>
                    <a:schemeClr val="bg1">
                      <a:lumMod val="50000"/>
                    </a:schemeClr>
                  </a:solidFill>
                  <a:round/>
                  <a:headEnd/>
                  <a:tailEnd/>
                </a:ln>
                <a:effectLst/>
              </p:spPr>
              <p:txBody>
                <a:bodyPr/>
                <a:lstStyle/>
                <a:p>
                  <a:endParaRPr lang="en-GB" sz="2215" dirty="0"/>
                </a:p>
              </p:txBody>
            </p:sp>
            <p:sp>
              <p:nvSpPr>
                <p:cNvPr id="140" name="Freeform 51"/>
                <p:cNvSpPr>
                  <a:spLocks/>
                </p:cNvSpPr>
                <p:nvPr/>
              </p:nvSpPr>
              <p:spPr bwMode="auto">
                <a:xfrm>
                  <a:off x="2434" y="2111"/>
                  <a:ext cx="38" cy="49"/>
                </a:xfrm>
                <a:custGeom>
                  <a:avLst/>
                  <a:gdLst/>
                  <a:ahLst/>
                  <a:cxnLst>
                    <a:cxn ang="0">
                      <a:pos x="8" y="48"/>
                    </a:cxn>
                    <a:cxn ang="0">
                      <a:pos x="0" y="16"/>
                    </a:cxn>
                    <a:cxn ang="0">
                      <a:pos x="40" y="0"/>
                    </a:cxn>
                    <a:cxn ang="0">
                      <a:pos x="8" y="48"/>
                    </a:cxn>
                  </a:cxnLst>
                  <a:rect l="0" t="0" r="r" b="b"/>
                  <a:pathLst>
                    <a:path w="41" h="49">
                      <a:moveTo>
                        <a:pt x="8" y="48"/>
                      </a:moveTo>
                      <a:lnTo>
                        <a:pt x="0" y="16"/>
                      </a:lnTo>
                      <a:lnTo>
                        <a:pt x="40" y="0"/>
                      </a:lnTo>
                      <a:lnTo>
                        <a:pt x="8" y="4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41" name="Freeform 52"/>
                <p:cNvSpPr>
                  <a:spLocks/>
                </p:cNvSpPr>
                <p:nvPr/>
              </p:nvSpPr>
              <p:spPr bwMode="auto">
                <a:xfrm>
                  <a:off x="2522" y="1698"/>
                  <a:ext cx="280" cy="191"/>
                </a:xfrm>
                <a:custGeom>
                  <a:avLst/>
                  <a:gdLst/>
                  <a:ahLst/>
                  <a:cxnLst>
                    <a:cxn ang="0">
                      <a:pos x="16" y="71"/>
                    </a:cxn>
                    <a:cxn ang="0">
                      <a:pos x="48" y="71"/>
                    </a:cxn>
                    <a:cxn ang="0">
                      <a:pos x="127" y="31"/>
                    </a:cxn>
                    <a:cxn ang="0">
                      <a:pos x="207" y="0"/>
                    </a:cxn>
                    <a:cxn ang="0">
                      <a:pos x="262" y="71"/>
                    </a:cxn>
                    <a:cxn ang="0">
                      <a:pos x="302" y="143"/>
                    </a:cxn>
                    <a:cxn ang="0">
                      <a:pos x="207" y="159"/>
                    </a:cxn>
                    <a:cxn ang="0">
                      <a:pos x="175" y="190"/>
                    </a:cxn>
                    <a:cxn ang="0">
                      <a:pos x="127" y="159"/>
                    </a:cxn>
                    <a:cxn ang="0">
                      <a:pos x="88" y="190"/>
                    </a:cxn>
                    <a:cxn ang="0">
                      <a:pos x="16" y="190"/>
                    </a:cxn>
                    <a:cxn ang="0">
                      <a:pos x="0" y="127"/>
                    </a:cxn>
                    <a:cxn ang="0">
                      <a:pos x="16" y="71"/>
                    </a:cxn>
                  </a:cxnLst>
                  <a:rect l="0" t="0" r="r" b="b"/>
                  <a:pathLst>
                    <a:path w="303" h="191">
                      <a:moveTo>
                        <a:pt x="16" y="71"/>
                      </a:moveTo>
                      <a:lnTo>
                        <a:pt x="48" y="71"/>
                      </a:lnTo>
                      <a:lnTo>
                        <a:pt x="127" y="31"/>
                      </a:lnTo>
                      <a:lnTo>
                        <a:pt x="207" y="0"/>
                      </a:lnTo>
                      <a:lnTo>
                        <a:pt x="262" y="71"/>
                      </a:lnTo>
                      <a:lnTo>
                        <a:pt x="302" y="143"/>
                      </a:lnTo>
                      <a:lnTo>
                        <a:pt x="207" y="159"/>
                      </a:lnTo>
                      <a:lnTo>
                        <a:pt x="175" y="190"/>
                      </a:lnTo>
                      <a:lnTo>
                        <a:pt x="127" y="159"/>
                      </a:lnTo>
                      <a:lnTo>
                        <a:pt x="88" y="190"/>
                      </a:lnTo>
                      <a:lnTo>
                        <a:pt x="16" y="190"/>
                      </a:lnTo>
                      <a:lnTo>
                        <a:pt x="0" y="127"/>
                      </a:lnTo>
                      <a:lnTo>
                        <a:pt x="16" y="71"/>
                      </a:lnTo>
                    </a:path>
                  </a:pathLst>
                </a:custGeom>
                <a:grpFill/>
                <a:ln w="6350" cap="rnd">
                  <a:solidFill>
                    <a:schemeClr val="bg1">
                      <a:lumMod val="50000"/>
                    </a:schemeClr>
                  </a:solidFill>
                  <a:round/>
                  <a:headEnd/>
                  <a:tailEnd/>
                </a:ln>
                <a:effectLst/>
              </p:spPr>
              <p:txBody>
                <a:bodyPr/>
                <a:lstStyle/>
                <a:p>
                  <a:endParaRPr lang="en-GB" sz="2215" dirty="0"/>
                </a:p>
              </p:txBody>
            </p:sp>
            <p:sp>
              <p:nvSpPr>
                <p:cNvPr id="142" name="Freeform 53"/>
                <p:cNvSpPr>
                  <a:spLocks/>
                </p:cNvSpPr>
                <p:nvPr/>
              </p:nvSpPr>
              <p:spPr bwMode="auto">
                <a:xfrm>
                  <a:off x="2522" y="1698"/>
                  <a:ext cx="280" cy="191"/>
                </a:xfrm>
                <a:custGeom>
                  <a:avLst/>
                  <a:gdLst/>
                  <a:ahLst/>
                  <a:cxnLst>
                    <a:cxn ang="0">
                      <a:pos x="16" y="71"/>
                    </a:cxn>
                    <a:cxn ang="0">
                      <a:pos x="48" y="71"/>
                    </a:cxn>
                    <a:cxn ang="0">
                      <a:pos x="127" y="31"/>
                    </a:cxn>
                    <a:cxn ang="0">
                      <a:pos x="207" y="0"/>
                    </a:cxn>
                    <a:cxn ang="0">
                      <a:pos x="262" y="71"/>
                    </a:cxn>
                    <a:cxn ang="0">
                      <a:pos x="302" y="143"/>
                    </a:cxn>
                    <a:cxn ang="0">
                      <a:pos x="207" y="159"/>
                    </a:cxn>
                    <a:cxn ang="0">
                      <a:pos x="175" y="190"/>
                    </a:cxn>
                    <a:cxn ang="0">
                      <a:pos x="127" y="159"/>
                    </a:cxn>
                    <a:cxn ang="0">
                      <a:pos x="88" y="190"/>
                    </a:cxn>
                    <a:cxn ang="0">
                      <a:pos x="16" y="190"/>
                    </a:cxn>
                    <a:cxn ang="0">
                      <a:pos x="0" y="127"/>
                    </a:cxn>
                    <a:cxn ang="0">
                      <a:pos x="16" y="71"/>
                    </a:cxn>
                  </a:cxnLst>
                  <a:rect l="0" t="0" r="r" b="b"/>
                  <a:pathLst>
                    <a:path w="303" h="191">
                      <a:moveTo>
                        <a:pt x="16" y="71"/>
                      </a:moveTo>
                      <a:lnTo>
                        <a:pt x="48" y="71"/>
                      </a:lnTo>
                      <a:lnTo>
                        <a:pt x="127" y="31"/>
                      </a:lnTo>
                      <a:lnTo>
                        <a:pt x="207" y="0"/>
                      </a:lnTo>
                      <a:lnTo>
                        <a:pt x="262" y="71"/>
                      </a:lnTo>
                      <a:lnTo>
                        <a:pt x="302" y="143"/>
                      </a:lnTo>
                      <a:lnTo>
                        <a:pt x="207" y="159"/>
                      </a:lnTo>
                      <a:lnTo>
                        <a:pt x="175" y="190"/>
                      </a:lnTo>
                      <a:lnTo>
                        <a:pt x="127" y="159"/>
                      </a:lnTo>
                      <a:lnTo>
                        <a:pt x="88" y="190"/>
                      </a:lnTo>
                      <a:lnTo>
                        <a:pt x="16" y="190"/>
                      </a:lnTo>
                      <a:lnTo>
                        <a:pt x="0" y="127"/>
                      </a:lnTo>
                      <a:lnTo>
                        <a:pt x="16" y="71"/>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43" name="Freeform 54"/>
                <p:cNvSpPr>
                  <a:spLocks/>
                </p:cNvSpPr>
                <p:nvPr/>
              </p:nvSpPr>
              <p:spPr bwMode="auto">
                <a:xfrm>
                  <a:off x="2852" y="1872"/>
                  <a:ext cx="133" cy="168"/>
                </a:xfrm>
                <a:custGeom>
                  <a:avLst/>
                  <a:gdLst/>
                  <a:ahLst/>
                  <a:cxnLst>
                    <a:cxn ang="0">
                      <a:pos x="0" y="160"/>
                    </a:cxn>
                    <a:cxn ang="0">
                      <a:pos x="0" y="112"/>
                    </a:cxn>
                    <a:cxn ang="0">
                      <a:pos x="47" y="72"/>
                    </a:cxn>
                    <a:cxn ang="0">
                      <a:pos x="32" y="24"/>
                    </a:cxn>
                    <a:cxn ang="0">
                      <a:pos x="103" y="24"/>
                    </a:cxn>
                    <a:cxn ang="0">
                      <a:pos x="135" y="0"/>
                    </a:cxn>
                    <a:cxn ang="0">
                      <a:pos x="143" y="88"/>
                    </a:cxn>
                    <a:cxn ang="0">
                      <a:pos x="135" y="144"/>
                    </a:cxn>
                    <a:cxn ang="0">
                      <a:pos x="143" y="167"/>
                    </a:cxn>
                    <a:cxn ang="0">
                      <a:pos x="63" y="167"/>
                    </a:cxn>
                    <a:cxn ang="0">
                      <a:pos x="0" y="160"/>
                    </a:cxn>
                  </a:cxnLst>
                  <a:rect l="0" t="0" r="r" b="b"/>
                  <a:pathLst>
                    <a:path w="144" h="168">
                      <a:moveTo>
                        <a:pt x="0" y="160"/>
                      </a:moveTo>
                      <a:lnTo>
                        <a:pt x="0" y="112"/>
                      </a:lnTo>
                      <a:lnTo>
                        <a:pt x="47" y="72"/>
                      </a:lnTo>
                      <a:lnTo>
                        <a:pt x="32" y="24"/>
                      </a:lnTo>
                      <a:lnTo>
                        <a:pt x="103" y="24"/>
                      </a:lnTo>
                      <a:lnTo>
                        <a:pt x="135" y="0"/>
                      </a:lnTo>
                      <a:lnTo>
                        <a:pt x="143" y="88"/>
                      </a:lnTo>
                      <a:lnTo>
                        <a:pt x="135" y="144"/>
                      </a:lnTo>
                      <a:lnTo>
                        <a:pt x="143" y="167"/>
                      </a:lnTo>
                      <a:lnTo>
                        <a:pt x="63" y="167"/>
                      </a:lnTo>
                      <a:lnTo>
                        <a:pt x="0" y="160"/>
                      </a:lnTo>
                    </a:path>
                  </a:pathLst>
                </a:custGeom>
                <a:grpFill/>
                <a:ln w="6350" cap="rnd">
                  <a:solidFill>
                    <a:schemeClr val="bg1">
                      <a:lumMod val="50000"/>
                    </a:schemeClr>
                  </a:solidFill>
                  <a:round/>
                  <a:headEnd/>
                  <a:tailEnd/>
                </a:ln>
                <a:effectLst/>
              </p:spPr>
              <p:txBody>
                <a:bodyPr/>
                <a:lstStyle/>
                <a:p>
                  <a:endParaRPr lang="en-GB" sz="2215" dirty="0"/>
                </a:p>
              </p:txBody>
            </p:sp>
            <p:sp>
              <p:nvSpPr>
                <p:cNvPr id="144" name="Freeform 55"/>
                <p:cNvSpPr>
                  <a:spLocks/>
                </p:cNvSpPr>
                <p:nvPr/>
              </p:nvSpPr>
              <p:spPr bwMode="auto">
                <a:xfrm>
                  <a:off x="2852" y="1872"/>
                  <a:ext cx="133" cy="168"/>
                </a:xfrm>
                <a:custGeom>
                  <a:avLst/>
                  <a:gdLst/>
                  <a:ahLst/>
                  <a:cxnLst>
                    <a:cxn ang="0">
                      <a:pos x="0" y="160"/>
                    </a:cxn>
                    <a:cxn ang="0">
                      <a:pos x="0" y="112"/>
                    </a:cxn>
                    <a:cxn ang="0">
                      <a:pos x="47" y="72"/>
                    </a:cxn>
                    <a:cxn ang="0">
                      <a:pos x="32" y="24"/>
                    </a:cxn>
                    <a:cxn ang="0">
                      <a:pos x="103" y="24"/>
                    </a:cxn>
                    <a:cxn ang="0">
                      <a:pos x="135" y="0"/>
                    </a:cxn>
                    <a:cxn ang="0">
                      <a:pos x="143" y="88"/>
                    </a:cxn>
                    <a:cxn ang="0">
                      <a:pos x="135" y="144"/>
                    </a:cxn>
                    <a:cxn ang="0">
                      <a:pos x="143" y="167"/>
                    </a:cxn>
                    <a:cxn ang="0">
                      <a:pos x="63" y="167"/>
                    </a:cxn>
                    <a:cxn ang="0">
                      <a:pos x="0" y="160"/>
                    </a:cxn>
                  </a:cxnLst>
                  <a:rect l="0" t="0" r="r" b="b"/>
                  <a:pathLst>
                    <a:path w="144" h="168">
                      <a:moveTo>
                        <a:pt x="0" y="160"/>
                      </a:moveTo>
                      <a:lnTo>
                        <a:pt x="0" y="112"/>
                      </a:lnTo>
                      <a:lnTo>
                        <a:pt x="47" y="72"/>
                      </a:lnTo>
                      <a:lnTo>
                        <a:pt x="32" y="24"/>
                      </a:lnTo>
                      <a:lnTo>
                        <a:pt x="103" y="24"/>
                      </a:lnTo>
                      <a:lnTo>
                        <a:pt x="135" y="0"/>
                      </a:lnTo>
                      <a:lnTo>
                        <a:pt x="143" y="88"/>
                      </a:lnTo>
                      <a:lnTo>
                        <a:pt x="135" y="144"/>
                      </a:lnTo>
                      <a:lnTo>
                        <a:pt x="143" y="167"/>
                      </a:lnTo>
                      <a:lnTo>
                        <a:pt x="63" y="167"/>
                      </a:lnTo>
                      <a:lnTo>
                        <a:pt x="0" y="16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45" name="Freeform 56"/>
                <p:cNvSpPr>
                  <a:spLocks/>
                </p:cNvSpPr>
                <p:nvPr/>
              </p:nvSpPr>
              <p:spPr bwMode="auto">
                <a:xfrm>
                  <a:off x="2977" y="1857"/>
                  <a:ext cx="198" cy="255"/>
                </a:xfrm>
                <a:custGeom>
                  <a:avLst/>
                  <a:gdLst/>
                  <a:ahLst/>
                  <a:cxnLst>
                    <a:cxn ang="0">
                      <a:pos x="8" y="182"/>
                    </a:cxn>
                    <a:cxn ang="0">
                      <a:pos x="0" y="159"/>
                    </a:cxn>
                    <a:cxn ang="0">
                      <a:pos x="8" y="103"/>
                    </a:cxn>
                    <a:cxn ang="0">
                      <a:pos x="0" y="15"/>
                    </a:cxn>
                    <a:cxn ang="0">
                      <a:pos x="40" y="0"/>
                    </a:cxn>
                    <a:cxn ang="0">
                      <a:pos x="111" y="39"/>
                    </a:cxn>
                    <a:cxn ang="0">
                      <a:pos x="214" y="39"/>
                    </a:cxn>
                    <a:cxn ang="0">
                      <a:pos x="183" y="87"/>
                    </a:cxn>
                    <a:cxn ang="0">
                      <a:pos x="183" y="198"/>
                    </a:cxn>
                    <a:cxn ang="0">
                      <a:pos x="143" y="254"/>
                    </a:cxn>
                    <a:cxn ang="0">
                      <a:pos x="8" y="182"/>
                    </a:cxn>
                  </a:cxnLst>
                  <a:rect l="0" t="0" r="r" b="b"/>
                  <a:pathLst>
                    <a:path w="215" h="255">
                      <a:moveTo>
                        <a:pt x="8" y="182"/>
                      </a:moveTo>
                      <a:lnTo>
                        <a:pt x="0" y="159"/>
                      </a:lnTo>
                      <a:lnTo>
                        <a:pt x="8" y="103"/>
                      </a:lnTo>
                      <a:lnTo>
                        <a:pt x="0" y="15"/>
                      </a:lnTo>
                      <a:lnTo>
                        <a:pt x="40" y="0"/>
                      </a:lnTo>
                      <a:lnTo>
                        <a:pt x="111" y="39"/>
                      </a:lnTo>
                      <a:lnTo>
                        <a:pt x="214" y="39"/>
                      </a:lnTo>
                      <a:lnTo>
                        <a:pt x="183" y="87"/>
                      </a:lnTo>
                      <a:lnTo>
                        <a:pt x="183" y="198"/>
                      </a:lnTo>
                      <a:lnTo>
                        <a:pt x="143" y="254"/>
                      </a:lnTo>
                      <a:lnTo>
                        <a:pt x="8" y="18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46" name="Freeform 57"/>
                <p:cNvSpPr>
                  <a:spLocks/>
                </p:cNvSpPr>
                <p:nvPr/>
              </p:nvSpPr>
              <p:spPr bwMode="auto">
                <a:xfrm>
                  <a:off x="2852" y="2032"/>
                  <a:ext cx="59" cy="40"/>
                </a:xfrm>
                <a:custGeom>
                  <a:avLst/>
                  <a:gdLst/>
                  <a:ahLst/>
                  <a:cxnLst>
                    <a:cxn ang="0">
                      <a:pos x="0" y="39"/>
                    </a:cxn>
                    <a:cxn ang="0">
                      <a:pos x="0" y="0"/>
                    </a:cxn>
                    <a:cxn ang="0">
                      <a:pos x="63" y="7"/>
                    </a:cxn>
                    <a:cxn ang="0">
                      <a:pos x="47" y="39"/>
                    </a:cxn>
                    <a:cxn ang="0">
                      <a:pos x="0" y="39"/>
                    </a:cxn>
                  </a:cxnLst>
                  <a:rect l="0" t="0" r="r" b="b"/>
                  <a:pathLst>
                    <a:path w="64" h="40">
                      <a:moveTo>
                        <a:pt x="0" y="39"/>
                      </a:moveTo>
                      <a:lnTo>
                        <a:pt x="0" y="0"/>
                      </a:lnTo>
                      <a:lnTo>
                        <a:pt x="63" y="7"/>
                      </a:lnTo>
                      <a:lnTo>
                        <a:pt x="47" y="39"/>
                      </a:lnTo>
                      <a:lnTo>
                        <a:pt x="0" y="39"/>
                      </a:lnTo>
                    </a:path>
                  </a:pathLst>
                </a:custGeom>
                <a:grpFill/>
                <a:ln w="6350" cap="rnd">
                  <a:solidFill>
                    <a:schemeClr val="bg1">
                      <a:lumMod val="50000"/>
                    </a:schemeClr>
                  </a:solidFill>
                  <a:round/>
                  <a:headEnd/>
                  <a:tailEnd/>
                </a:ln>
                <a:effectLst/>
              </p:spPr>
              <p:txBody>
                <a:bodyPr/>
                <a:lstStyle/>
                <a:p>
                  <a:endParaRPr lang="en-GB" sz="2215" dirty="0"/>
                </a:p>
              </p:txBody>
            </p:sp>
            <p:sp>
              <p:nvSpPr>
                <p:cNvPr id="147" name="Freeform 58"/>
                <p:cNvSpPr>
                  <a:spLocks/>
                </p:cNvSpPr>
                <p:nvPr/>
              </p:nvSpPr>
              <p:spPr bwMode="auto">
                <a:xfrm>
                  <a:off x="2852" y="2032"/>
                  <a:ext cx="59" cy="40"/>
                </a:xfrm>
                <a:custGeom>
                  <a:avLst/>
                  <a:gdLst/>
                  <a:ahLst/>
                  <a:cxnLst>
                    <a:cxn ang="0">
                      <a:pos x="0" y="39"/>
                    </a:cxn>
                    <a:cxn ang="0">
                      <a:pos x="0" y="0"/>
                    </a:cxn>
                    <a:cxn ang="0">
                      <a:pos x="63" y="7"/>
                    </a:cxn>
                    <a:cxn ang="0">
                      <a:pos x="47" y="39"/>
                    </a:cxn>
                    <a:cxn ang="0">
                      <a:pos x="0" y="39"/>
                    </a:cxn>
                  </a:cxnLst>
                  <a:rect l="0" t="0" r="r" b="b"/>
                  <a:pathLst>
                    <a:path w="64" h="40">
                      <a:moveTo>
                        <a:pt x="0" y="39"/>
                      </a:moveTo>
                      <a:lnTo>
                        <a:pt x="0" y="0"/>
                      </a:lnTo>
                      <a:lnTo>
                        <a:pt x="63" y="7"/>
                      </a:lnTo>
                      <a:lnTo>
                        <a:pt x="47" y="39"/>
                      </a:lnTo>
                      <a:lnTo>
                        <a:pt x="0" y="39"/>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48" name="Freeform 59"/>
                <p:cNvSpPr>
                  <a:spLocks/>
                </p:cNvSpPr>
                <p:nvPr/>
              </p:nvSpPr>
              <p:spPr bwMode="auto">
                <a:xfrm>
                  <a:off x="2852" y="2071"/>
                  <a:ext cx="45" cy="41"/>
                </a:xfrm>
                <a:custGeom>
                  <a:avLst/>
                  <a:gdLst/>
                  <a:ahLst/>
                  <a:cxnLst>
                    <a:cxn ang="0">
                      <a:pos x="0" y="0"/>
                    </a:cxn>
                    <a:cxn ang="0">
                      <a:pos x="0" y="40"/>
                    </a:cxn>
                    <a:cxn ang="0">
                      <a:pos x="47" y="24"/>
                    </a:cxn>
                    <a:cxn ang="0">
                      <a:pos x="47" y="0"/>
                    </a:cxn>
                    <a:cxn ang="0">
                      <a:pos x="0" y="0"/>
                    </a:cxn>
                  </a:cxnLst>
                  <a:rect l="0" t="0" r="r" b="b"/>
                  <a:pathLst>
                    <a:path w="48" h="41">
                      <a:moveTo>
                        <a:pt x="0" y="0"/>
                      </a:moveTo>
                      <a:lnTo>
                        <a:pt x="0" y="40"/>
                      </a:lnTo>
                      <a:lnTo>
                        <a:pt x="47" y="24"/>
                      </a:lnTo>
                      <a:lnTo>
                        <a:pt x="47" y="0"/>
                      </a:lnTo>
                      <a:lnTo>
                        <a:pt x="0" y="0"/>
                      </a:lnTo>
                    </a:path>
                  </a:pathLst>
                </a:custGeom>
                <a:grpFill/>
                <a:ln w="6350" cap="rnd">
                  <a:solidFill>
                    <a:schemeClr val="bg1">
                      <a:lumMod val="50000"/>
                    </a:schemeClr>
                  </a:solidFill>
                  <a:round/>
                  <a:headEnd/>
                  <a:tailEnd/>
                </a:ln>
                <a:effectLst/>
              </p:spPr>
              <p:txBody>
                <a:bodyPr/>
                <a:lstStyle/>
                <a:p>
                  <a:endParaRPr lang="en-GB" sz="2215" dirty="0"/>
                </a:p>
              </p:txBody>
            </p:sp>
            <p:sp>
              <p:nvSpPr>
                <p:cNvPr id="149" name="Freeform 60"/>
                <p:cNvSpPr>
                  <a:spLocks/>
                </p:cNvSpPr>
                <p:nvPr/>
              </p:nvSpPr>
              <p:spPr bwMode="auto">
                <a:xfrm>
                  <a:off x="2852" y="2071"/>
                  <a:ext cx="45" cy="41"/>
                </a:xfrm>
                <a:custGeom>
                  <a:avLst/>
                  <a:gdLst/>
                  <a:ahLst/>
                  <a:cxnLst>
                    <a:cxn ang="0">
                      <a:pos x="0" y="0"/>
                    </a:cxn>
                    <a:cxn ang="0">
                      <a:pos x="0" y="40"/>
                    </a:cxn>
                    <a:cxn ang="0">
                      <a:pos x="47" y="24"/>
                    </a:cxn>
                    <a:cxn ang="0">
                      <a:pos x="47" y="0"/>
                    </a:cxn>
                    <a:cxn ang="0">
                      <a:pos x="0" y="0"/>
                    </a:cxn>
                  </a:cxnLst>
                  <a:rect l="0" t="0" r="r" b="b"/>
                  <a:pathLst>
                    <a:path w="48" h="41">
                      <a:moveTo>
                        <a:pt x="0" y="0"/>
                      </a:moveTo>
                      <a:lnTo>
                        <a:pt x="0" y="40"/>
                      </a:lnTo>
                      <a:lnTo>
                        <a:pt x="47" y="24"/>
                      </a:lnTo>
                      <a:lnTo>
                        <a:pt x="47" y="0"/>
                      </a:lnTo>
                      <a:lnTo>
                        <a:pt x="0"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0" name="Freeform 61"/>
                <p:cNvSpPr>
                  <a:spLocks/>
                </p:cNvSpPr>
                <p:nvPr/>
              </p:nvSpPr>
              <p:spPr bwMode="auto">
                <a:xfrm>
                  <a:off x="2852" y="2039"/>
                  <a:ext cx="280" cy="320"/>
                </a:xfrm>
                <a:custGeom>
                  <a:avLst/>
                  <a:gdLst/>
                  <a:ahLst/>
                  <a:cxnLst>
                    <a:cxn ang="0">
                      <a:pos x="0" y="72"/>
                    </a:cxn>
                    <a:cxn ang="0">
                      <a:pos x="47" y="56"/>
                    </a:cxn>
                    <a:cxn ang="0">
                      <a:pos x="47" y="32"/>
                    </a:cxn>
                    <a:cxn ang="0">
                      <a:pos x="63" y="0"/>
                    </a:cxn>
                    <a:cxn ang="0">
                      <a:pos x="143" y="0"/>
                    </a:cxn>
                    <a:cxn ang="0">
                      <a:pos x="278" y="72"/>
                    </a:cxn>
                    <a:cxn ang="0">
                      <a:pos x="278" y="199"/>
                    </a:cxn>
                    <a:cxn ang="0">
                      <a:pos x="302" y="303"/>
                    </a:cxn>
                    <a:cxn ang="0">
                      <a:pos x="278" y="287"/>
                    </a:cxn>
                    <a:cxn ang="0">
                      <a:pos x="135" y="319"/>
                    </a:cxn>
                    <a:cxn ang="0">
                      <a:pos x="135" y="255"/>
                    </a:cxn>
                    <a:cxn ang="0">
                      <a:pos x="103" y="247"/>
                    </a:cxn>
                    <a:cxn ang="0">
                      <a:pos x="32" y="199"/>
                    </a:cxn>
                    <a:cxn ang="0">
                      <a:pos x="0" y="160"/>
                    </a:cxn>
                    <a:cxn ang="0">
                      <a:pos x="0" y="72"/>
                    </a:cxn>
                  </a:cxnLst>
                  <a:rect l="0" t="0" r="r" b="b"/>
                  <a:pathLst>
                    <a:path w="303" h="320">
                      <a:moveTo>
                        <a:pt x="0" y="72"/>
                      </a:moveTo>
                      <a:lnTo>
                        <a:pt x="47" y="56"/>
                      </a:lnTo>
                      <a:lnTo>
                        <a:pt x="47" y="32"/>
                      </a:lnTo>
                      <a:lnTo>
                        <a:pt x="63" y="0"/>
                      </a:lnTo>
                      <a:lnTo>
                        <a:pt x="143" y="0"/>
                      </a:lnTo>
                      <a:lnTo>
                        <a:pt x="278" y="72"/>
                      </a:lnTo>
                      <a:lnTo>
                        <a:pt x="278" y="199"/>
                      </a:lnTo>
                      <a:lnTo>
                        <a:pt x="302" y="303"/>
                      </a:lnTo>
                      <a:lnTo>
                        <a:pt x="278" y="287"/>
                      </a:lnTo>
                      <a:lnTo>
                        <a:pt x="135" y="319"/>
                      </a:lnTo>
                      <a:lnTo>
                        <a:pt x="135" y="255"/>
                      </a:lnTo>
                      <a:lnTo>
                        <a:pt x="103" y="247"/>
                      </a:lnTo>
                      <a:lnTo>
                        <a:pt x="32" y="199"/>
                      </a:lnTo>
                      <a:lnTo>
                        <a:pt x="0" y="160"/>
                      </a:lnTo>
                      <a:lnTo>
                        <a:pt x="0" y="7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1" name="Freeform 62"/>
                <p:cNvSpPr>
                  <a:spLocks/>
                </p:cNvSpPr>
                <p:nvPr/>
              </p:nvSpPr>
              <p:spPr bwMode="auto">
                <a:xfrm>
                  <a:off x="2442" y="1841"/>
                  <a:ext cx="455" cy="557"/>
                </a:xfrm>
                <a:custGeom>
                  <a:avLst/>
                  <a:gdLst/>
                  <a:ahLst/>
                  <a:cxnLst>
                    <a:cxn ang="0">
                      <a:pos x="0" y="358"/>
                    </a:cxn>
                    <a:cxn ang="0">
                      <a:pos x="0" y="318"/>
                    </a:cxn>
                    <a:cxn ang="0">
                      <a:pos x="32" y="270"/>
                    </a:cxn>
                    <a:cxn ang="0">
                      <a:pos x="103" y="254"/>
                    </a:cxn>
                    <a:cxn ang="0">
                      <a:pos x="159" y="127"/>
                    </a:cxn>
                    <a:cxn ang="0">
                      <a:pos x="175" y="47"/>
                    </a:cxn>
                    <a:cxn ang="0">
                      <a:pos x="214" y="16"/>
                    </a:cxn>
                    <a:cxn ang="0">
                      <a:pos x="262" y="47"/>
                    </a:cxn>
                    <a:cxn ang="0">
                      <a:pos x="294" y="16"/>
                    </a:cxn>
                    <a:cxn ang="0">
                      <a:pos x="389" y="0"/>
                    </a:cxn>
                    <a:cxn ang="0">
                      <a:pos x="445" y="31"/>
                    </a:cxn>
                    <a:cxn ang="0">
                      <a:pos x="477" y="55"/>
                    </a:cxn>
                    <a:cxn ang="0">
                      <a:pos x="492" y="103"/>
                    </a:cxn>
                    <a:cxn ang="0">
                      <a:pos x="445" y="143"/>
                    </a:cxn>
                    <a:cxn ang="0">
                      <a:pos x="445" y="358"/>
                    </a:cxn>
                    <a:cxn ang="0">
                      <a:pos x="477" y="397"/>
                    </a:cxn>
                    <a:cxn ang="0">
                      <a:pos x="437" y="397"/>
                    </a:cxn>
                    <a:cxn ang="0">
                      <a:pos x="437" y="517"/>
                    </a:cxn>
                    <a:cxn ang="0">
                      <a:pos x="461" y="525"/>
                    </a:cxn>
                    <a:cxn ang="0">
                      <a:pos x="445" y="556"/>
                    </a:cxn>
                    <a:cxn ang="0">
                      <a:pos x="373" y="501"/>
                    </a:cxn>
                    <a:cxn ang="0">
                      <a:pos x="318" y="485"/>
                    </a:cxn>
                    <a:cxn ang="0">
                      <a:pos x="262" y="453"/>
                    </a:cxn>
                    <a:cxn ang="0">
                      <a:pos x="246" y="373"/>
                    </a:cxn>
                    <a:cxn ang="0">
                      <a:pos x="206" y="373"/>
                    </a:cxn>
                    <a:cxn ang="0">
                      <a:pos x="191" y="397"/>
                    </a:cxn>
                    <a:cxn ang="0">
                      <a:pos x="175" y="397"/>
                    </a:cxn>
                    <a:cxn ang="0">
                      <a:pos x="135" y="373"/>
                    </a:cxn>
                    <a:cxn ang="0">
                      <a:pos x="119" y="326"/>
                    </a:cxn>
                    <a:cxn ang="0">
                      <a:pos x="32" y="326"/>
                    </a:cxn>
                    <a:cxn ang="0">
                      <a:pos x="0" y="358"/>
                    </a:cxn>
                  </a:cxnLst>
                  <a:rect l="0" t="0" r="r" b="b"/>
                  <a:pathLst>
                    <a:path w="493" h="557">
                      <a:moveTo>
                        <a:pt x="0" y="358"/>
                      </a:moveTo>
                      <a:lnTo>
                        <a:pt x="0" y="318"/>
                      </a:lnTo>
                      <a:lnTo>
                        <a:pt x="32" y="270"/>
                      </a:lnTo>
                      <a:lnTo>
                        <a:pt x="103" y="254"/>
                      </a:lnTo>
                      <a:lnTo>
                        <a:pt x="159" y="127"/>
                      </a:lnTo>
                      <a:lnTo>
                        <a:pt x="175" y="47"/>
                      </a:lnTo>
                      <a:lnTo>
                        <a:pt x="214" y="16"/>
                      </a:lnTo>
                      <a:lnTo>
                        <a:pt x="262" y="47"/>
                      </a:lnTo>
                      <a:lnTo>
                        <a:pt x="294" y="16"/>
                      </a:lnTo>
                      <a:lnTo>
                        <a:pt x="389" y="0"/>
                      </a:lnTo>
                      <a:lnTo>
                        <a:pt x="445" y="31"/>
                      </a:lnTo>
                      <a:lnTo>
                        <a:pt x="477" y="55"/>
                      </a:lnTo>
                      <a:lnTo>
                        <a:pt x="492" y="103"/>
                      </a:lnTo>
                      <a:lnTo>
                        <a:pt x="445" y="143"/>
                      </a:lnTo>
                      <a:lnTo>
                        <a:pt x="445" y="358"/>
                      </a:lnTo>
                      <a:lnTo>
                        <a:pt x="477" y="397"/>
                      </a:lnTo>
                      <a:lnTo>
                        <a:pt x="437" y="397"/>
                      </a:lnTo>
                      <a:lnTo>
                        <a:pt x="437" y="517"/>
                      </a:lnTo>
                      <a:lnTo>
                        <a:pt x="461" y="525"/>
                      </a:lnTo>
                      <a:lnTo>
                        <a:pt x="445" y="556"/>
                      </a:lnTo>
                      <a:lnTo>
                        <a:pt x="373" y="501"/>
                      </a:lnTo>
                      <a:lnTo>
                        <a:pt x="318" y="485"/>
                      </a:lnTo>
                      <a:lnTo>
                        <a:pt x="262" y="453"/>
                      </a:lnTo>
                      <a:lnTo>
                        <a:pt x="246" y="373"/>
                      </a:lnTo>
                      <a:lnTo>
                        <a:pt x="206" y="373"/>
                      </a:lnTo>
                      <a:lnTo>
                        <a:pt x="191" y="397"/>
                      </a:lnTo>
                      <a:lnTo>
                        <a:pt x="175" y="397"/>
                      </a:lnTo>
                      <a:lnTo>
                        <a:pt x="135" y="373"/>
                      </a:lnTo>
                      <a:lnTo>
                        <a:pt x="119" y="326"/>
                      </a:lnTo>
                      <a:lnTo>
                        <a:pt x="32" y="326"/>
                      </a:lnTo>
                      <a:lnTo>
                        <a:pt x="0" y="358"/>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2" name="Freeform 63"/>
                <p:cNvSpPr>
                  <a:spLocks/>
                </p:cNvSpPr>
                <p:nvPr/>
              </p:nvSpPr>
              <p:spPr bwMode="auto">
                <a:xfrm>
                  <a:off x="2434" y="2167"/>
                  <a:ext cx="302" cy="375"/>
                </a:xfrm>
                <a:custGeom>
                  <a:avLst/>
                  <a:gdLst/>
                  <a:ahLst/>
                  <a:cxnLst>
                    <a:cxn ang="0">
                      <a:pos x="326" y="214"/>
                    </a:cxn>
                    <a:cxn ang="0">
                      <a:pos x="326" y="159"/>
                    </a:cxn>
                    <a:cxn ang="0">
                      <a:pos x="270" y="127"/>
                    </a:cxn>
                    <a:cxn ang="0">
                      <a:pos x="254" y="47"/>
                    </a:cxn>
                    <a:cxn ang="0">
                      <a:pos x="214" y="47"/>
                    </a:cxn>
                    <a:cxn ang="0">
                      <a:pos x="199" y="71"/>
                    </a:cxn>
                    <a:cxn ang="0">
                      <a:pos x="143" y="47"/>
                    </a:cxn>
                    <a:cxn ang="0">
                      <a:pos x="127" y="0"/>
                    </a:cxn>
                    <a:cxn ang="0">
                      <a:pos x="40" y="0"/>
                    </a:cxn>
                    <a:cxn ang="0">
                      <a:pos x="8" y="32"/>
                    </a:cxn>
                    <a:cxn ang="0">
                      <a:pos x="56" y="159"/>
                    </a:cxn>
                    <a:cxn ang="0">
                      <a:pos x="24" y="214"/>
                    </a:cxn>
                    <a:cxn ang="0">
                      <a:pos x="0" y="342"/>
                    </a:cxn>
                    <a:cxn ang="0">
                      <a:pos x="183" y="342"/>
                    </a:cxn>
                    <a:cxn ang="0">
                      <a:pos x="254" y="374"/>
                    </a:cxn>
                    <a:cxn ang="0">
                      <a:pos x="302" y="358"/>
                    </a:cxn>
                    <a:cxn ang="0">
                      <a:pos x="270" y="318"/>
                    </a:cxn>
                    <a:cxn ang="0">
                      <a:pos x="270" y="214"/>
                    </a:cxn>
                    <a:cxn ang="0">
                      <a:pos x="326" y="214"/>
                    </a:cxn>
                  </a:cxnLst>
                  <a:rect l="0" t="0" r="r" b="b"/>
                  <a:pathLst>
                    <a:path w="327" h="375">
                      <a:moveTo>
                        <a:pt x="326" y="214"/>
                      </a:moveTo>
                      <a:lnTo>
                        <a:pt x="326" y="159"/>
                      </a:lnTo>
                      <a:lnTo>
                        <a:pt x="270" y="127"/>
                      </a:lnTo>
                      <a:lnTo>
                        <a:pt x="254" y="47"/>
                      </a:lnTo>
                      <a:lnTo>
                        <a:pt x="214" y="47"/>
                      </a:lnTo>
                      <a:lnTo>
                        <a:pt x="199" y="71"/>
                      </a:lnTo>
                      <a:lnTo>
                        <a:pt x="143" y="47"/>
                      </a:lnTo>
                      <a:lnTo>
                        <a:pt x="127" y="0"/>
                      </a:lnTo>
                      <a:lnTo>
                        <a:pt x="40" y="0"/>
                      </a:lnTo>
                      <a:lnTo>
                        <a:pt x="8" y="32"/>
                      </a:lnTo>
                      <a:lnTo>
                        <a:pt x="56" y="159"/>
                      </a:lnTo>
                      <a:lnTo>
                        <a:pt x="24" y="214"/>
                      </a:lnTo>
                      <a:lnTo>
                        <a:pt x="0" y="342"/>
                      </a:lnTo>
                      <a:lnTo>
                        <a:pt x="183" y="342"/>
                      </a:lnTo>
                      <a:lnTo>
                        <a:pt x="254" y="374"/>
                      </a:lnTo>
                      <a:lnTo>
                        <a:pt x="302" y="358"/>
                      </a:lnTo>
                      <a:lnTo>
                        <a:pt x="270" y="318"/>
                      </a:lnTo>
                      <a:lnTo>
                        <a:pt x="270" y="214"/>
                      </a:lnTo>
                      <a:lnTo>
                        <a:pt x="326" y="214"/>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3" name="Freeform 64"/>
                <p:cNvSpPr>
                  <a:spLocks/>
                </p:cNvSpPr>
                <p:nvPr/>
              </p:nvSpPr>
              <p:spPr bwMode="auto">
                <a:xfrm>
                  <a:off x="2683" y="2238"/>
                  <a:ext cx="280" cy="304"/>
                </a:xfrm>
                <a:custGeom>
                  <a:avLst/>
                  <a:gdLst/>
                  <a:ahLst/>
                  <a:cxnLst>
                    <a:cxn ang="0">
                      <a:pos x="56" y="143"/>
                    </a:cxn>
                    <a:cxn ang="0">
                      <a:pos x="56" y="88"/>
                    </a:cxn>
                    <a:cxn ang="0">
                      <a:pos x="111" y="104"/>
                    </a:cxn>
                    <a:cxn ang="0">
                      <a:pos x="183" y="159"/>
                    </a:cxn>
                    <a:cxn ang="0">
                      <a:pos x="199" y="128"/>
                    </a:cxn>
                    <a:cxn ang="0">
                      <a:pos x="175" y="120"/>
                    </a:cxn>
                    <a:cxn ang="0">
                      <a:pos x="175" y="0"/>
                    </a:cxn>
                    <a:cxn ang="0">
                      <a:pos x="215" y="0"/>
                    </a:cxn>
                    <a:cxn ang="0">
                      <a:pos x="286" y="48"/>
                    </a:cxn>
                    <a:cxn ang="0">
                      <a:pos x="302" y="199"/>
                    </a:cxn>
                    <a:cxn ang="0">
                      <a:pos x="246" y="191"/>
                    </a:cxn>
                    <a:cxn ang="0">
                      <a:pos x="215" y="231"/>
                    </a:cxn>
                    <a:cxn ang="0">
                      <a:pos x="183" y="231"/>
                    </a:cxn>
                    <a:cxn ang="0">
                      <a:pos x="143" y="287"/>
                    </a:cxn>
                    <a:cxn ang="0">
                      <a:pos x="103" y="303"/>
                    </a:cxn>
                    <a:cxn ang="0">
                      <a:pos x="32" y="287"/>
                    </a:cxn>
                    <a:cxn ang="0">
                      <a:pos x="0" y="247"/>
                    </a:cxn>
                    <a:cxn ang="0">
                      <a:pos x="0" y="143"/>
                    </a:cxn>
                    <a:cxn ang="0">
                      <a:pos x="56" y="143"/>
                    </a:cxn>
                  </a:cxnLst>
                  <a:rect l="0" t="0" r="r" b="b"/>
                  <a:pathLst>
                    <a:path w="303" h="304">
                      <a:moveTo>
                        <a:pt x="56" y="143"/>
                      </a:moveTo>
                      <a:lnTo>
                        <a:pt x="56" y="88"/>
                      </a:lnTo>
                      <a:lnTo>
                        <a:pt x="111" y="104"/>
                      </a:lnTo>
                      <a:lnTo>
                        <a:pt x="183" y="159"/>
                      </a:lnTo>
                      <a:lnTo>
                        <a:pt x="199" y="128"/>
                      </a:lnTo>
                      <a:lnTo>
                        <a:pt x="175" y="120"/>
                      </a:lnTo>
                      <a:lnTo>
                        <a:pt x="175" y="0"/>
                      </a:lnTo>
                      <a:lnTo>
                        <a:pt x="215" y="0"/>
                      </a:lnTo>
                      <a:lnTo>
                        <a:pt x="286" y="48"/>
                      </a:lnTo>
                      <a:lnTo>
                        <a:pt x="302" y="199"/>
                      </a:lnTo>
                      <a:lnTo>
                        <a:pt x="246" y="191"/>
                      </a:lnTo>
                      <a:lnTo>
                        <a:pt x="215" y="231"/>
                      </a:lnTo>
                      <a:lnTo>
                        <a:pt x="183" y="231"/>
                      </a:lnTo>
                      <a:lnTo>
                        <a:pt x="143" y="287"/>
                      </a:lnTo>
                      <a:lnTo>
                        <a:pt x="103" y="303"/>
                      </a:lnTo>
                      <a:lnTo>
                        <a:pt x="32" y="287"/>
                      </a:lnTo>
                      <a:lnTo>
                        <a:pt x="0" y="247"/>
                      </a:lnTo>
                      <a:lnTo>
                        <a:pt x="0" y="143"/>
                      </a:lnTo>
                      <a:lnTo>
                        <a:pt x="56" y="143"/>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4" name="Freeform 65"/>
                <p:cNvSpPr>
                  <a:spLocks/>
                </p:cNvSpPr>
                <p:nvPr/>
              </p:nvSpPr>
              <p:spPr bwMode="auto">
                <a:xfrm>
                  <a:off x="2947" y="2286"/>
                  <a:ext cx="68" cy="216"/>
                </a:xfrm>
                <a:custGeom>
                  <a:avLst/>
                  <a:gdLst/>
                  <a:ahLst/>
                  <a:cxnLst>
                    <a:cxn ang="0">
                      <a:pos x="32" y="72"/>
                    </a:cxn>
                    <a:cxn ang="0">
                      <a:pos x="32" y="8"/>
                    </a:cxn>
                    <a:cxn ang="0">
                      <a:pos x="0" y="0"/>
                    </a:cxn>
                    <a:cxn ang="0">
                      <a:pos x="16" y="151"/>
                    </a:cxn>
                    <a:cxn ang="0">
                      <a:pos x="40" y="215"/>
                    </a:cxn>
                    <a:cxn ang="0">
                      <a:pos x="72" y="199"/>
                    </a:cxn>
                    <a:cxn ang="0">
                      <a:pos x="72" y="151"/>
                    </a:cxn>
                    <a:cxn ang="0">
                      <a:pos x="40" y="127"/>
                    </a:cxn>
                    <a:cxn ang="0">
                      <a:pos x="32" y="72"/>
                    </a:cxn>
                  </a:cxnLst>
                  <a:rect l="0" t="0" r="r" b="b"/>
                  <a:pathLst>
                    <a:path w="73" h="216">
                      <a:moveTo>
                        <a:pt x="32" y="72"/>
                      </a:moveTo>
                      <a:lnTo>
                        <a:pt x="32" y="8"/>
                      </a:lnTo>
                      <a:lnTo>
                        <a:pt x="0" y="0"/>
                      </a:lnTo>
                      <a:lnTo>
                        <a:pt x="16" y="151"/>
                      </a:lnTo>
                      <a:lnTo>
                        <a:pt x="40" y="215"/>
                      </a:lnTo>
                      <a:lnTo>
                        <a:pt x="72" y="199"/>
                      </a:lnTo>
                      <a:lnTo>
                        <a:pt x="72" y="151"/>
                      </a:lnTo>
                      <a:lnTo>
                        <a:pt x="40" y="127"/>
                      </a:lnTo>
                      <a:lnTo>
                        <a:pt x="32" y="72"/>
                      </a:lnTo>
                    </a:path>
                  </a:pathLst>
                </a:custGeom>
                <a:grpFill/>
                <a:ln w="6350" cap="rnd">
                  <a:solidFill>
                    <a:schemeClr val="bg1">
                      <a:lumMod val="50000"/>
                    </a:schemeClr>
                  </a:solidFill>
                  <a:round/>
                  <a:headEnd/>
                  <a:tailEnd/>
                </a:ln>
                <a:effectLst/>
              </p:spPr>
              <p:txBody>
                <a:bodyPr/>
                <a:lstStyle/>
                <a:p>
                  <a:endParaRPr lang="en-GB" sz="2215" dirty="0"/>
                </a:p>
              </p:txBody>
            </p:sp>
            <p:sp>
              <p:nvSpPr>
                <p:cNvPr id="155" name="Freeform 66"/>
                <p:cNvSpPr>
                  <a:spLocks/>
                </p:cNvSpPr>
                <p:nvPr/>
              </p:nvSpPr>
              <p:spPr bwMode="auto">
                <a:xfrm>
                  <a:off x="2947" y="2286"/>
                  <a:ext cx="68" cy="216"/>
                </a:xfrm>
                <a:custGeom>
                  <a:avLst/>
                  <a:gdLst/>
                  <a:ahLst/>
                  <a:cxnLst>
                    <a:cxn ang="0">
                      <a:pos x="32" y="72"/>
                    </a:cxn>
                    <a:cxn ang="0">
                      <a:pos x="32" y="8"/>
                    </a:cxn>
                    <a:cxn ang="0">
                      <a:pos x="0" y="0"/>
                    </a:cxn>
                    <a:cxn ang="0">
                      <a:pos x="16" y="151"/>
                    </a:cxn>
                    <a:cxn ang="0">
                      <a:pos x="40" y="215"/>
                    </a:cxn>
                    <a:cxn ang="0">
                      <a:pos x="72" y="199"/>
                    </a:cxn>
                    <a:cxn ang="0">
                      <a:pos x="72" y="151"/>
                    </a:cxn>
                    <a:cxn ang="0">
                      <a:pos x="40" y="127"/>
                    </a:cxn>
                    <a:cxn ang="0">
                      <a:pos x="32" y="72"/>
                    </a:cxn>
                  </a:cxnLst>
                  <a:rect l="0" t="0" r="r" b="b"/>
                  <a:pathLst>
                    <a:path w="73" h="216">
                      <a:moveTo>
                        <a:pt x="32" y="72"/>
                      </a:moveTo>
                      <a:lnTo>
                        <a:pt x="32" y="8"/>
                      </a:lnTo>
                      <a:lnTo>
                        <a:pt x="0" y="0"/>
                      </a:lnTo>
                      <a:lnTo>
                        <a:pt x="16" y="151"/>
                      </a:lnTo>
                      <a:lnTo>
                        <a:pt x="40" y="215"/>
                      </a:lnTo>
                      <a:lnTo>
                        <a:pt x="72" y="199"/>
                      </a:lnTo>
                      <a:lnTo>
                        <a:pt x="72" y="151"/>
                      </a:lnTo>
                      <a:lnTo>
                        <a:pt x="40" y="127"/>
                      </a:lnTo>
                      <a:lnTo>
                        <a:pt x="32" y="7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6" name="Freeform 67"/>
                <p:cNvSpPr>
                  <a:spLocks/>
                </p:cNvSpPr>
                <p:nvPr/>
              </p:nvSpPr>
              <p:spPr bwMode="auto">
                <a:xfrm>
                  <a:off x="2778" y="2469"/>
                  <a:ext cx="156" cy="200"/>
                </a:xfrm>
                <a:custGeom>
                  <a:avLst/>
                  <a:gdLst/>
                  <a:ahLst/>
                  <a:cxnLst>
                    <a:cxn ang="0">
                      <a:pos x="112" y="0"/>
                    </a:cxn>
                    <a:cxn ang="0">
                      <a:pos x="167" y="56"/>
                    </a:cxn>
                    <a:cxn ang="0">
                      <a:pos x="151" y="167"/>
                    </a:cxn>
                    <a:cxn ang="0">
                      <a:pos x="127" y="199"/>
                    </a:cxn>
                    <a:cxn ang="0">
                      <a:pos x="96" y="183"/>
                    </a:cxn>
                    <a:cxn ang="0">
                      <a:pos x="0" y="72"/>
                    </a:cxn>
                    <a:cxn ang="0">
                      <a:pos x="40" y="56"/>
                    </a:cxn>
                    <a:cxn ang="0">
                      <a:pos x="80" y="0"/>
                    </a:cxn>
                    <a:cxn ang="0">
                      <a:pos x="112" y="0"/>
                    </a:cxn>
                  </a:cxnLst>
                  <a:rect l="0" t="0" r="r" b="b"/>
                  <a:pathLst>
                    <a:path w="168" h="200">
                      <a:moveTo>
                        <a:pt x="112" y="0"/>
                      </a:moveTo>
                      <a:lnTo>
                        <a:pt x="167" y="56"/>
                      </a:lnTo>
                      <a:lnTo>
                        <a:pt x="151" y="167"/>
                      </a:lnTo>
                      <a:lnTo>
                        <a:pt x="127" y="199"/>
                      </a:lnTo>
                      <a:lnTo>
                        <a:pt x="96" y="183"/>
                      </a:lnTo>
                      <a:lnTo>
                        <a:pt x="0" y="72"/>
                      </a:lnTo>
                      <a:lnTo>
                        <a:pt x="40" y="56"/>
                      </a:lnTo>
                      <a:lnTo>
                        <a:pt x="80" y="0"/>
                      </a:lnTo>
                      <a:lnTo>
                        <a:pt x="112" y="0"/>
                      </a:lnTo>
                    </a:path>
                  </a:pathLst>
                </a:custGeom>
                <a:grpFill/>
                <a:ln w="6350" cap="rnd">
                  <a:solidFill>
                    <a:schemeClr val="bg1">
                      <a:lumMod val="50000"/>
                    </a:schemeClr>
                  </a:solidFill>
                  <a:round/>
                  <a:headEnd/>
                  <a:tailEnd/>
                </a:ln>
                <a:effectLst/>
              </p:spPr>
              <p:txBody>
                <a:bodyPr/>
                <a:lstStyle/>
                <a:p>
                  <a:endParaRPr lang="en-GB" sz="2215" dirty="0"/>
                </a:p>
              </p:txBody>
            </p:sp>
            <p:sp>
              <p:nvSpPr>
                <p:cNvPr id="157" name="Freeform 68"/>
                <p:cNvSpPr>
                  <a:spLocks/>
                </p:cNvSpPr>
                <p:nvPr/>
              </p:nvSpPr>
              <p:spPr bwMode="auto">
                <a:xfrm>
                  <a:off x="2778" y="2469"/>
                  <a:ext cx="156" cy="200"/>
                </a:xfrm>
                <a:custGeom>
                  <a:avLst/>
                  <a:gdLst/>
                  <a:ahLst/>
                  <a:cxnLst>
                    <a:cxn ang="0">
                      <a:pos x="112" y="0"/>
                    </a:cxn>
                    <a:cxn ang="0">
                      <a:pos x="167" y="56"/>
                    </a:cxn>
                    <a:cxn ang="0">
                      <a:pos x="151" y="167"/>
                    </a:cxn>
                    <a:cxn ang="0">
                      <a:pos x="127" y="199"/>
                    </a:cxn>
                    <a:cxn ang="0">
                      <a:pos x="96" y="183"/>
                    </a:cxn>
                    <a:cxn ang="0">
                      <a:pos x="0" y="72"/>
                    </a:cxn>
                    <a:cxn ang="0">
                      <a:pos x="40" y="56"/>
                    </a:cxn>
                    <a:cxn ang="0">
                      <a:pos x="80" y="0"/>
                    </a:cxn>
                    <a:cxn ang="0">
                      <a:pos x="112" y="0"/>
                    </a:cxn>
                  </a:cxnLst>
                  <a:rect l="0" t="0" r="r" b="b"/>
                  <a:pathLst>
                    <a:path w="168" h="200">
                      <a:moveTo>
                        <a:pt x="112" y="0"/>
                      </a:moveTo>
                      <a:lnTo>
                        <a:pt x="167" y="56"/>
                      </a:lnTo>
                      <a:lnTo>
                        <a:pt x="151" y="167"/>
                      </a:lnTo>
                      <a:lnTo>
                        <a:pt x="127" y="199"/>
                      </a:lnTo>
                      <a:lnTo>
                        <a:pt x="96" y="183"/>
                      </a:lnTo>
                      <a:lnTo>
                        <a:pt x="0" y="72"/>
                      </a:lnTo>
                      <a:lnTo>
                        <a:pt x="40" y="56"/>
                      </a:lnTo>
                      <a:lnTo>
                        <a:pt x="80" y="0"/>
                      </a:lnTo>
                      <a:lnTo>
                        <a:pt x="112"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58" name="Freeform 69"/>
                <p:cNvSpPr>
                  <a:spLocks/>
                </p:cNvSpPr>
                <p:nvPr/>
              </p:nvSpPr>
              <p:spPr bwMode="auto">
                <a:xfrm>
                  <a:off x="2882" y="2326"/>
                  <a:ext cx="250" cy="454"/>
                </a:xfrm>
                <a:custGeom>
                  <a:avLst/>
                  <a:gdLst/>
                  <a:ahLst/>
                  <a:cxnLst>
                    <a:cxn ang="0">
                      <a:pos x="15" y="342"/>
                    </a:cxn>
                    <a:cxn ang="0">
                      <a:pos x="39" y="310"/>
                    </a:cxn>
                    <a:cxn ang="0">
                      <a:pos x="55" y="199"/>
                    </a:cxn>
                    <a:cxn ang="0">
                      <a:pos x="0" y="143"/>
                    </a:cxn>
                    <a:cxn ang="0">
                      <a:pos x="31" y="103"/>
                    </a:cxn>
                    <a:cxn ang="0">
                      <a:pos x="87" y="111"/>
                    </a:cxn>
                    <a:cxn ang="0">
                      <a:pos x="111" y="175"/>
                    </a:cxn>
                    <a:cxn ang="0">
                      <a:pos x="143" y="159"/>
                    </a:cxn>
                    <a:cxn ang="0">
                      <a:pos x="143" y="111"/>
                    </a:cxn>
                    <a:cxn ang="0">
                      <a:pos x="111" y="87"/>
                    </a:cxn>
                    <a:cxn ang="0">
                      <a:pos x="103" y="32"/>
                    </a:cxn>
                    <a:cxn ang="0">
                      <a:pos x="246" y="0"/>
                    </a:cxn>
                    <a:cxn ang="0">
                      <a:pos x="270" y="16"/>
                    </a:cxn>
                    <a:cxn ang="0">
                      <a:pos x="254" y="159"/>
                    </a:cxn>
                    <a:cxn ang="0">
                      <a:pos x="111" y="270"/>
                    </a:cxn>
                    <a:cxn ang="0">
                      <a:pos x="127" y="374"/>
                    </a:cxn>
                    <a:cxn ang="0">
                      <a:pos x="111" y="413"/>
                    </a:cxn>
                    <a:cxn ang="0">
                      <a:pos x="39" y="453"/>
                    </a:cxn>
                    <a:cxn ang="0">
                      <a:pos x="15" y="453"/>
                    </a:cxn>
                    <a:cxn ang="0">
                      <a:pos x="15" y="342"/>
                    </a:cxn>
                  </a:cxnLst>
                  <a:rect l="0" t="0" r="r" b="b"/>
                  <a:pathLst>
                    <a:path w="271" h="454">
                      <a:moveTo>
                        <a:pt x="15" y="342"/>
                      </a:moveTo>
                      <a:lnTo>
                        <a:pt x="39" y="310"/>
                      </a:lnTo>
                      <a:lnTo>
                        <a:pt x="55" y="199"/>
                      </a:lnTo>
                      <a:lnTo>
                        <a:pt x="0" y="143"/>
                      </a:lnTo>
                      <a:lnTo>
                        <a:pt x="31" y="103"/>
                      </a:lnTo>
                      <a:lnTo>
                        <a:pt x="87" y="111"/>
                      </a:lnTo>
                      <a:lnTo>
                        <a:pt x="111" y="175"/>
                      </a:lnTo>
                      <a:lnTo>
                        <a:pt x="143" y="159"/>
                      </a:lnTo>
                      <a:lnTo>
                        <a:pt x="143" y="111"/>
                      </a:lnTo>
                      <a:lnTo>
                        <a:pt x="111" y="87"/>
                      </a:lnTo>
                      <a:lnTo>
                        <a:pt x="103" y="32"/>
                      </a:lnTo>
                      <a:lnTo>
                        <a:pt x="246" y="0"/>
                      </a:lnTo>
                      <a:lnTo>
                        <a:pt x="270" y="16"/>
                      </a:lnTo>
                      <a:lnTo>
                        <a:pt x="254" y="159"/>
                      </a:lnTo>
                      <a:lnTo>
                        <a:pt x="111" y="270"/>
                      </a:lnTo>
                      <a:lnTo>
                        <a:pt x="127" y="374"/>
                      </a:lnTo>
                      <a:lnTo>
                        <a:pt x="111" y="413"/>
                      </a:lnTo>
                      <a:lnTo>
                        <a:pt x="39" y="453"/>
                      </a:lnTo>
                      <a:lnTo>
                        <a:pt x="15" y="453"/>
                      </a:lnTo>
                      <a:lnTo>
                        <a:pt x="15" y="342"/>
                      </a:lnTo>
                    </a:path>
                  </a:pathLst>
                </a:custGeom>
                <a:grpFill/>
                <a:ln w="6350" cap="rnd">
                  <a:solidFill>
                    <a:schemeClr val="bg1">
                      <a:lumMod val="50000"/>
                    </a:schemeClr>
                  </a:solidFill>
                  <a:round/>
                  <a:headEnd/>
                  <a:tailEnd/>
                </a:ln>
                <a:effectLst/>
              </p:spPr>
              <p:txBody>
                <a:bodyPr/>
                <a:lstStyle/>
                <a:p>
                  <a:endParaRPr lang="en-GB" sz="2215" dirty="0"/>
                </a:p>
              </p:txBody>
            </p:sp>
            <p:sp>
              <p:nvSpPr>
                <p:cNvPr id="159" name="Freeform 70"/>
                <p:cNvSpPr>
                  <a:spLocks/>
                </p:cNvSpPr>
                <p:nvPr/>
              </p:nvSpPr>
              <p:spPr bwMode="auto">
                <a:xfrm>
                  <a:off x="2882" y="2326"/>
                  <a:ext cx="250" cy="454"/>
                </a:xfrm>
                <a:custGeom>
                  <a:avLst/>
                  <a:gdLst/>
                  <a:ahLst/>
                  <a:cxnLst>
                    <a:cxn ang="0">
                      <a:pos x="15" y="342"/>
                    </a:cxn>
                    <a:cxn ang="0">
                      <a:pos x="39" y="310"/>
                    </a:cxn>
                    <a:cxn ang="0">
                      <a:pos x="55" y="199"/>
                    </a:cxn>
                    <a:cxn ang="0">
                      <a:pos x="0" y="143"/>
                    </a:cxn>
                    <a:cxn ang="0">
                      <a:pos x="31" y="103"/>
                    </a:cxn>
                    <a:cxn ang="0">
                      <a:pos x="87" y="111"/>
                    </a:cxn>
                    <a:cxn ang="0">
                      <a:pos x="111" y="175"/>
                    </a:cxn>
                    <a:cxn ang="0">
                      <a:pos x="143" y="159"/>
                    </a:cxn>
                    <a:cxn ang="0">
                      <a:pos x="143" y="111"/>
                    </a:cxn>
                    <a:cxn ang="0">
                      <a:pos x="111" y="87"/>
                    </a:cxn>
                    <a:cxn ang="0">
                      <a:pos x="103" y="32"/>
                    </a:cxn>
                    <a:cxn ang="0">
                      <a:pos x="246" y="0"/>
                    </a:cxn>
                    <a:cxn ang="0">
                      <a:pos x="270" y="16"/>
                    </a:cxn>
                    <a:cxn ang="0">
                      <a:pos x="254" y="159"/>
                    </a:cxn>
                    <a:cxn ang="0">
                      <a:pos x="111" y="270"/>
                    </a:cxn>
                    <a:cxn ang="0">
                      <a:pos x="127" y="374"/>
                    </a:cxn>
                    <a:cxn ang="0">
                      <a:pos x="111" y="413"/>
                    </a:cxn>
                    <a:cxn ang="0">
                      <a:pos x="39" y="453"/>
                    </a:cxn>
                    <a:cxn ang="0">
                      <a:pos x="15" y="453"/>
                    </a:cxn>
                    <a:cxn ang="0">
                      <a:pos x="15" y="342"/>
                    </a:cxn>
                  </a:cxnLst>
                  <a:rect l="0" t="0" r="r" b="b"/>
                  <a:pathLst>
                    <a:path w="271" h="454">
                      <a:moveTo>
                        <a:pt x="15" y="342"/>
                      </a:moveTo>
                      <a:lnTo>
                        <a:pt x="39" y="310"/>
                      </a:lnTo>
                      <a:lnTo>
                        <a:pt x="55" y="199"/>
                      </a:lnTo>
                      <a:lnTo>
                        <a:pt x="0" y="143"/>
                      </a:lnTo>
                      <a:lnTo>
                        <a:pt x="31" y="103"/>
                      </a:lnTo>
                      <a:lnTo>
                        <a:pt x="87" y="111"/>
                      </a:lnTo>
                      <a:lnTo>
                        <a:pt x="111" y="175"/>
                      </a:lnTo>
                      <a:lnTo>
                        <a:pt x="143" y="159"/>
                      </a:lnTo>
                      <a:lnTo>
                        <a:pt x="143" y="111"/>
                      </a:lnTo>
                      <a:lnTo>
                        <a:pt x="111" y="87"/>
                      </a:lnTo>
                      <a:lnTo>
                        <a:pt x="103" y="32"/>
                      </a:lnTo>
                      <a:lnTo>
                        <a:pt x="246" y="0"/>
                      </a:lnTo>
                      <a:lnTo>
                        <a:pt x="270" y="16"/>
                      </a:lnTo>
                      <a:lnTo>
                        <a:pt x="254" y="159"/>
                      </a:lnTo>
                      <a:lnTo>
                        <a:pt x="111" y="270"/>
                      </a:lnTo>
                      <a:lnTo>
                        <a:pt x="127" y="374"/>
                      </a:lnTo>
                      <a:lnTo>
                        <a:pt x="111" y="413"/>
                      </a:lnTo>
                      <a:lnTo>
                        <a:pt x="39" y="453"/>
                      </a:lnTo>
                      <a:lnTo>
                        <a:pt x="15" y="453"/>
                      </a:lnTo>
                      <a:lnTo>
                        <a:pt x="15" y="342"/>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0" name="Freeform 71"/>
                <p:cNvSpPr>
                  <a:spLocks/>
                </p:cNvSpPr>
                <p:nvPr/>
              </p:nvSpPr>
              <p:spPr bwMode="auto">
                <a:xfrm>
                  <a:off x="3160" y="2381"/>
                  <a:ext cx="199" cy="383"/>
                </a:xfrm>
                <a:custGeom>
                  <a:avLst/>
                  <a:gdLst/>
                  <a:ahLst/>
                  <a:cxnLst>
                    <a:cxn ang="0">
                      <a:pos x="215" y="0"/>
                    </a:cxn>
                    <a:cxn ang="0">
                      <a:pos x="175" y="0"/>
                    </a:cxn>
                    <a:cxn ang="0">
                      <a:pos x="104" y="104"/>
                    </a:cxn>
                    <a:cxn ang="0">
                      <a:pos x="56" y="104"/>
                    </a:cxn>
                    <a:cxn ang="0">
                      <a:pos x="40" y="144"/>
                    </a:cxn>
                    <a:cxn ang="0">
                      <a:pos x="40" y="215"/>
                    </a:cxn>
                    <a:cxn ang="0">
                      <a:pos x="0" y="271"/>
                    </a:cxn>
                    <a:cxn ang="0">
                      <a:pos x="16" y="342"/>
                    </a:cxn>
                    <a:cxn ang="0">
                      <a:pos x="40" y="382"/>
                    </a:cxn>
                    <a:cxn ang="0">
                      <a:pos x="112" y="374"/>
                    </a:cxn>
                    <a:cxn ang="0">
                      <a:pos x="183" y="183"/>
                    </a:cxn>
                    <a:cxn ang="0">
                      <a:pos x="183" y="128"/>
                    </a:cxn>
                    <a:cxn ang="0">
                      <a:pos x="215" y="120"/>
                    </a:cxn>
                    <a:cxn ang="0">
                      <a:pos x="215" y="0"/>
                    </a:cxn>
                  </a:cxnLst>
                  <a:rect l="0" t="0" r="r" b="b"/>
                  <a:pathLst>
                    <a:path w="216" h="383">
                      <a:moveTo>
                        <a:pt x="215" y="0"/>
                      </a:moveTo>
                      <a:lnTo>
                        <a:pt x="175" y="0"/>
                      </a:lnTo>
                      <a:lnTo>
                        <a:pt x="104" y="104"/>
                      </a:lnTo>
                      <a:lnTo>
                        <a:pt x="56" y="104"/>
                      </a:lnTo>
                      <a:lnTo>
                        <a:pt x="40" y="144"/>
                      </a:lnTo>
                      <a:lnTo>
                        <a:pt x="40" y="215"/>
                      </a:lnTo>
                      <a:lnTo>
                        <a:pt x="0" y="271"/>
                      </a:lnTo>
                      <a:lnTo>
                        <a:pt x="16" y="342"/>
                      </a:lnTo>
                      <a:lnTo>
                        <a:pt x="40" y="382"/>
                      </a:lnTo>
                      <a:lnTo>
                        <a:pt x="112" y="374"/>
                      </a:lnTo>
                      <a:lnTo>
                        <a:pt x="183" y="183"/>
                      </a:lnTo>
                      <a:lnTo>
                        <a:pt x="183" y="128"/>
                      </a:lnTo>
                      <a:lnTo>
                        <a:pt x="215" y="120"/>
                      </a:lnTo>
                      <a:lnTo>
                        <a:pt x="215"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1" name="Freeform 72"/>
                <p:cNvSpPr>
                  <a:spLocks/>
                </p:cNvSpPr>
                <p:nvPr/>
              </p:nvSpPr>
              <p:spPr bwMode="auto">
                <a:xfrm>
                  <a:off x="2639" y="2525"/>
                  <a:ext cx="229" cy="287"/>
                </a:xfrm>
                <a:custGeom>
                  <a:avLst/>
                  <a:gdLst/>
                  <a:ahLst/>
                  <a:cxnLst>
                    <a:cxn ang="0">
                      <a:pos x="32" y="16"/>
                    </a:cxn>
                    <a:cxn ang="0">
                      <a:pos x="80" y="0"/>
                    </a:cxn>
                    <a:cxn ang="0">
                      <a:pos x="151" y="16"/>
                    </a:cxn>
                    <a:cxn ang="0">
                      <a:pos x="247" y="127"/>
                    </a:cxn>
                    <a:cxn ang="0">
                      <a:pos x="175" y="175"/>
                    </a:cxn>
                    <a:cxn ang="0">
                      <a:pos x="135" y="238"/>
                    </a:cxn>
                    <a:cxn ang="0">
                      <a:pos x="80" y="238"/>
                    </a:cxn>
                    <a:cxn ang="0">
                      <a:pos x="32" y="286"/>
                    </a:cxn>
                    <a:cxn ang="0">
                      <a:pos x="0" y="230"/>
                    </a:cxn>
                    <a:cxn ang="0">
                      <a:pos x="0" y="127"/>
                    </a:cxn>
                    <a:cxn ang="0">
                      <a:pos x="32" y="127"/>
                    </a:cxn>
                    <a:cxn ang="0">
                      <a:pos x="32" y="16"/>
                    </a:cxn>
                  </a:cxnLst>
                  <a:rect l="0" t="0" r="r" b="b"/>
                  <a:pathLst>
                    <a:path w="248" h="287">
                      <a:moveTo>
                        <a:pt x="32" y="16"/>
                      </a:moveTo>
                      <a:lnTo>
                        <a:pt x="80" y="0"/>
                      </a:lnTo>
                      <a:lnTo>
                        <a:pt x="151" y="16"/>
                      </a:lnTo>
                      <a:lnTo>
                        <a:pt x="247" y="127"/>
                      </a:lnTo>
                      <a:lnTo>
                        <a:pt x="175" y="175"/>
                      </a:lnTo>
                      <a:lnTo>
                        <a:pt x="135" y="238"/>
                      </a:lnTo>
                      <a:lnTo>
                        <a:pt x="80" y="238"/>
                      </a:lnTo>
                      <a:lnTo>
                        <a:pt x="32" y="286"/>
                      </a:lnTo>
                      <a:lnTo>
                        <a:pt x="0" y="230"/>
                      </a:lnTo>
                      <a:lnTo>
                        <a:pt x="0" y="127"/>
                      </a:lnTo>
                      <a:lnTo>
                        <a:pt x="32" y="127"/>
                      </a:lnTo>
                      <a:lnTo>
                        <a:pt x="32" y="16"/>
                      </a:lnTo>
                    </a:path>
                  </a:pathLst>
                </a:custGeom>
                <a:grpFill/>
                <a:ln w="6350" cap="rnd">
                  <a:solidFill>
                    <a:schemeClr val="bg1">
                      <a:lumMod val="50000"/>
                    </a:schemeClr>
                  </a:solidFill>
                  <a:round/>
                  <a:headEnd/>
                  <a:tailEnd/>
                </a:ln>
                <a:effectLst/>
              </p:spPr>
              <p:txBody>
                <a:bodyPr/>
                <a:lstStyle/>
                <a:p>
                  <a:endParaRPr lang="en-GB" sz="2215" dirty="0"/>
                </a:p>
              </p:txBody>
            </p:sp>
            <p:sp>
              <p:nvSpPr>
                <p:cNvPr id="162" name="Freeform 73"/>
                <p:cNvSpPr>
                  <a:spLocks/>
                </p:cNvSpPr>
                <p:nvPr/>
              </p:nvSpPr>
              <p:spPr bwMode="auto">
                <a:xfrm>
                  <a:off x="2639" y="2525"/>
                  <a:ext cx="229" cy="287"/>
                </a:xfrm>
                <a:custGeom>
                  <a:avLst/>
                  <a:gdLst/>
                  <a:ahLst/>
                  <a:cxnLst>
                    <a:cxn ang="0">
                      <a:pos x="32" y="16"/>
                    </a:cxn>
                    <a:cxn ang="0">
                      <a:pos x="80" y="0"/>
                    </a:cxn>
                    <a:cxn ang="0">
                      <a:pos x="151" y="16"/>
                    </a:cxn>
                    <a:cxn ang="0">
                      <a:pos x="247" y="127"/>
                    </a:cxn>
                    <a:cxn ang="0">
                      <a:pos x="175" y="175"/>
                    </a:cxn>
                    <a:cxn ang="0">
                      <a:pos x="135" y="238"/>
                    </a:cxn>
                    <a:cxn ang="0">
                      <a:pos x="80" y="238"/>
                    </a:cxn>
                    <a:cxn ang="0">
                      <a:pos x="32" y="286"/>
                    </a:cxn>
                    <a:cxn ang="0">
                      <a:pos x="0" y="230"/>
                    </a:cxn>
                    <a:cxn ang="0">
                      <a:pos x="0" y="127"/>
                    </a:cxn>
                    <a:cxn ang="0">
                      <a:pos x="32" y="127"/>
                    </a:cxn>
                    <a:cxn ang="0">
                      <a:pos x="32" y="16"/>
                    </a:cxn>
                  </a:cxnLst>
                  <a:rect l="0" t="0" r="r" b="b"/>
                  <a:pathLst>
                    <a:path w="248" h="287">
                      <a:moveTo>
                        <a:pt x="32" y="16"/>
                      </a:moveTo>
                      <a:lnTo>
                        <a:pt x="80" y="0"/>
                      </a:lnTo>
                      <a:lnTo>
                        <a:pt x="151" y="16"/>
                      </a:lnTo>
                      <a:lnTo>
                        <a:pt x="247" y="127"/>
                      </a:lnTo>
                      <a:lnTo>
                        <a:pt x="175" y="175"/>
                      </a:lnTo>
                      <a:lnTo>
                        <a:pt x="135" y="238"/>
                      </a:lnTo>
                      <a:lnTo>
                        <a:pt x="80" y="238"/>
                      </a:lnTo>
                      <a:lnTo>
                        <a:pt x="32" y="286"/>
                      </a:lnTo>
                      <a:lnTo>
                        <a:pt x="0" y="230"/>
                      </a:lnTo>
                      <a:lnTo>
                        <a:pt x="0" y="127"/>
                      </a:lnTo>
                      <a:lnTo>
                        <a:pt x="32" y="127"/>
                      </a:lnTo>
                      <a:lnTo>
                        <a:pt x="32" y="16"/>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3" name="Freeform 74"/>
                <p:cNvSpPr>
                  <a:spLocks/>
                </p:cNvSpPr>
                <p:nvPr/>
              </p:nvSpPr>
              <p:spPr bwMode="auto">
                <a:xfrm>
                  <a:off x="2434" y="2509"/>
                  <a:ext cx="236" cy="343"/>
                </a:xfrm>
                <a:custGeom>
                  <a:avLst/>
                  <a:gdLst/>
                  <a:ahLst/>
                  <a:cxnLst>
                    <a:cxn ang="0">
                      <a:pos x="0" y="0"/>
                    </a:cxn>
                    <a:cxn ang="0">
                      <a:pos x="183" y="0"/>
                    </a:cxn>
                    <a:cxn ang="0">
                      <a:pos x="254" y="32"/>
                    </a:cxn>
                    <a:cxn ang="0">
                      <a:pos x="254" y="143"/>
                    </a:cxn>
                    <a:cxn ang="0">
                      <a:pos x="222" y="143"/>
                    </a:cxn>
                    <a:cxn ang="0">
                      <a:pos x="222" y="342"/>
                    </a:cxn>
                    <a:cxn ang="0">
                      <a:pos x="111" y="342"/>
                    </a:cxn>
                    <a:cxn ang="0">
                      <a:pos x="56" y="199"/>
                    </a:cxn>
                    <a:cxn ang="0">
                      <a:pos x="56" y="103"/>
                    </a:cxn>
                    <a:cxn ang="0">
                      <a:pos x="0" y="0"/>
                    </a:cxn>
                  </a:cxnLst>
                  <a:rect l="0" t="0" r="r" b="b"/>
                  <a:pathLst>
                    <a:path w="255" h="343">
                      <a:moveTo>
                        <a:pt x="0" y="0"/>
                      </a:moveTo>
                      <a:lnTo>
                        <a:pt x="183" y="0"/>
                      </a:lnTo>
                      <a:lnTo>
                        <a:pt x="254" y="32"/>
                      </a:lnTo>
                      <a:lnTo>
                        <a:pt x="254" y="143"/>
                      </a:lnTo>
                      <a:lnTo>
                        <a:pt x="222" y="143"/>
                      </a:lnTo>
                      <a:lnTo>
                        <a:pt x="222" y="342"/>
                      </a:lnTo>
                      <a:lnTo>
                        <a:pt x="111" y="342"/>
                      </a:lnTo>
                      <a:lnTo>
                        <a:pt x="56" y="199"/>
                      </a:lnTo>
                      <a:lnTo>
                        <a:pt x="56" y="103"/>
                      </a:lnTo>
                      <a:lnTo>
                        <a:pt x="0"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4" name="Freeform 75"/>
                <p:cNvSpPr>
                  <a:spLocks/>
                </p:cNvSpPr>
                <p:nvPr/>
              </p:nvSpPr>
              <p:spPr bwMode="auto">
                <a:xfrm>
                  <a:off x="2537" y="2652"/>
                  <a:ext cx="382" cy="399"/>
                </a:xfrm>
                <a:custGeom>
                  <a:avLst/>
                  <a:gdLst/>
                  <a:ahLst/>
                  <a:cxnLst>
                    <a:cxn ang="0">
                      <a:pos x="358" y="0"/>
                    </a:cxn>
                    <a:cxn ang="0">
                      <a:pos x="389" y="16"/>
                    </a:cxn>
                    <a:cxn ang="0">
                      <a:pos x="389" y="127"/>
                    </a:cxn>
                    <a:cxn ang="0">
                      <a:pos x="413" y="127"/>
                    </a:cxn>
                    <a:cxn ang="0">
                      <a:pos x="405" y="199"/>
                    </a:cxn>
                    <a:cxn ang="0">
                      <a:pos x="318" y="326"/>
                    </a:cxn>
                    <a:cxn ang="0">
                      <a:pos x="127" y="398"/>
                    </a:cxn>
                    <a:cxn ang="0">
                      <a:pos x="40" y="382"/>
                    </a:cxn>
                    <a:cxn ang="0">
                      <a:pos x="0" y="199"/>
                    </a:cxn>
                    <a:cxn ang="0">
                      <a:pos x="111" y="199"/>
                    </a:cxn>
                    <a:cxn ang="0">
                      <a:pos x="111" y="103"/>
                    </a:cxn>
                    <a:cxn ang="0">
                      <a:pos x="143" y="159"/>
                    </a:cxn>
                    <a:cxn ang="0">
                      <a:pos x="191" y="111"/>
                    </a:cxn>
                    <a:cxn ang="0">
                      <a:pos x="246" y="111"/>
                    </a:cxn>
                    <a:cxn ang="0">
                      <a:pos x="286" y="48"/>
                    </a:cxn>
                    <a:cxn ang="0">
                      <a:pos x="358" y="0"/>
                    </a:cxn>
                  </a:cxnLst>
                  <a:rect l="0" t="0" r="r" b="b"/>
                  <a:pathLst>
                    <a:path w="414" h="399">
                      <a:moveTo>
                        <a:pt x="358" y="0"/>
                      </a:moveTo>
                      <a:lnTo>
                        <a:pt x="389" y="16"/>
                      </a:lnTo>
                      <a:lnTo>
                        <a:pt x="389" y="127"/>
                      </a:lnTo>
                      <a:lnTo>
                        <a:pt x="413" y="127"/>
                      </a:lnTo>
                      <a:lnTo>
                        <a:pt x="405" y="199"/>
                      </a:lnTo>
                      <a:lnTo>
                        <a:pt x="318" y="326"/>
                      </a:lnTo>
                      <a:lnTo>
                        <a:pt x="127" y="398"/>
                      </a:lnTo>
                      <a:lnTo>
                        <a:pt x="40" y="382"/>
                      </a:lnTo>
                      <a:lnTo>
                        <a:pt x="0" y="199"/>
                      </a:lnTo>
                      <a:lnTo>
                        <a:pt x="111" y="199"/>
                      </a:lnTo>
                      <a:lnTo>
                        <a:pt x="111" y="103"/>
                      </a:lnTo>
                      <a:lnTo>
                        <a:pt x="143" y="159"/>
                      </a:lnTo>
                      <a:lnTo>
                        <a:pt x="191" y="111"/>
                      </a:lnTo>
                      <a:lnTo>
                        <a:pt x="246" y="111"/>
                      </a:lnTo>
                      <a:lnTo>
                        <a:pt x="286" y="48"/>
                      </a:lnTo>
                      <a:lnTo>
                        <a:pt x="358"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5" name="Freeform 76"/>
                <p:cNvSpPr>
                  <a:spLocks/>
                </p:cNvSpPr>
                <p:nvPr/>
              </p:nvSpPr>
              <p:spPr bwMode="auto">
                <a:xfrm>
                  <a:off x="2757" y="2867"/>
                  <a:ext cx="59" cy="80"/>
                </a:xfrm>
                <a:custGeom>
                  <a:avLst/>
                  <a:gdLst/>
                  <a:ahLst/>
                  <a:cxnLst>
                    <a:cxn ang="0">
                      <a:pos x="39" y="0"/>
                    </a:cxn>
                    <a:cxn ang="0">
                      <a:pos x="55" y="8"/>
                    </a:cxn>
                    <a:cxn ang="0">
                      <a:pos x="63" y="31"/>
                    </a:cxn>
                    <a:cxn ang="0">
                      <a:pos x="63" y="55"/>
                    </a:cxn>
                    <a:cxn ang="0">
                      <a:pos x="55" y="63"/>
                    </a:cxn>
                    <a:cxn ang="0">
                      <a:pos x="39" y="79"/>
                    </a:cxn>
                    <a:cxn ang="0">
                      <a:pos x="15" y="71"/>
                    </a:cxn>
                    <a:cxn ang="0">
                      <a:pos x="0" y="55"/>
                    </a:cxn>
                    <a:cxn ang="0">
                      <a:pos x="0" y="31"/>
                    </a:cxn>
                    <a:cxn ang="0">
                      <a:pos x="15" y="16"/>
                    </a:cxn>
                    <a:cxn ang="0">
                      <a:pos x="31" y="8"/>
                    </a:cxn>
                    <a:cxn ang="0">
                      <a:pos x="39" y="0"/>
                    </a:cxn>
                  </a:cxnLst>
                  <a:rect l="0" t="0" r="r" b="b"/>
                  <a:pathLst>
                    <a:path w="64" h="80">
                      <a:moveTo>
                        <a:pt x="39" y="0"/>
                      </a:moveTo>
                      <a:lnTo>
                        <a:pt x="55" y="8"/>
                      </a:lnTo>
                      <a:lnTo>
                        <a:pt x="63" y="31"/>
                      </a:lnTo>
                      <a:lnTo>
                        <a:pt x="63" y="55"/>
                      </a:lnTo>
                      <a:lnTo>
                        <a:pt x="55" y="63"/>
                      </a:lnTo>
                      <a:lnTo>
                        <a:pt x="39" y="79"/>
                      </a:lnTo>
                      <a:lnTo>
                        <a:pt x="15" y="71"/>
                      </a:lnTo>
                      <a:lnTo>
                        <a:pt x="0" y="55"/>
                      </a:lnTo>
                      <a:lnTo>
                        <a:pt x="0" y="31"/>
                      </a:lnTo>
                      <a:lnTo>
                        <a:pt x="15" y="16"/>
                      </a:lnTo>
                      <a:lnTo>
                        <a:pt x="31" y="8"/>
                      </a:lnTo>
                      <a:lnTo>
                        <a:pt x="39" y="0"/>
                      </a:lnTo>
                    </a:path>
                  </a:pathLst>
                </a:custGeom>
                <a:grpFill/>
                <a:ln w="6350" cap="rnd">
                  <a:solidFill>
                    <a:schemeClr val="bg1">
                      <a:lumMod val="50000"/>
                    </a:schemeClr>
                  </a:solidFill>
                  <a:round/>
                  <a:headEnd/>
                  <a:tailEnd/>
                </a:ln>
                <a:effectLst/>
              </p:spPr>
              <p:txBody>
                <a:bodyPr/>
                <a:lstStyle/>
                <a:p>
                  <a:endParaRPr lang="en-GB" sz="2215" dirty="0"/>
                </a:p>
              </p:txBody>
            </p:sp>
            <p:sp>
              <p:nvSpPr>
                <p:cNvPr id="166" name="Freeform 77"/>
                <p:cNvSpPr>
                  <a:spLocks/>
                </p:cNvSpPr>
                <p:nvPr/>
              </p:nvSpPr>
              <p:spPr bwMode="auto">
                <a:xfrm>
                  <a:off x="2757" y="2867"/>
                  <a:ext cx="59" cy="80"/>
                </a:xfrm>
                <a:custGeom>
                  <a:avLst/>
                  <a:gdLst/>
                  <a:ahLst/>
                  <a:cxnLst>
                    <a:cxn ang="0">
                      <a:pos x="39" y="0"/>
                    </a:cxn>
                    <a:cxn ang="0">
                      <a:pos x="55" y="8"/>
                    </a:cxn>
                    <a:cxn ang="0">
                      <a:pos x="63" y="31"/>
                    </a:cxn>
                    <a:cxn ang="0">
                      <a:pos x="63" y="55"/>
                    </a:cxn>
                    <a:cxn ang="0">
                      <a:pos x="55" y="63"/>
                    </a:cxn>
                    <a:cxn ang="0">
                      <a:pos x="39" y="79"/>
                    </a:cxn>
                    <a:cxn ang="0">
                      <a:pos x="15" y="71"/>
                    </a:cxn>
                    <a:cxn ang="0">
                      <a:pos x="0" y="55"/>
                    </a:cxn>
                    <a:cxn ang="0">
                      <a:pos x="0" y="31"/>
                    </a:cxn>
                    <a:cxn ang="0">
                      <a:pos x="15" y="16"/>
                    </a:cxn>
                    <a:cxn ang="0">
                      <a:pos x="31" y="8"/>
                    </a:cxn>
                    <a:cxn ang="0">
                      <a:pos x="39" y="0"/>
                    </a:cxn>
                  </a:cxnLst>
                  <a:rect l="0" t="0" r="r" b="b"/>
                  <a:pathLst>
                    <a:path w="64" h="80">
                      <a:moveTo>
                        <a:pt x="39" y="0"/>
                      </a:moveTo>
                      <a:lnTo>
                        <a:pt x="55" y="8"/>
                      </a:lnTo>
                      <a:lnTo>
                        <a:pt x="63" y="31"/>
                      </a:lnTo>
                      <a:lnTo>
                        <a:pt x="63" y="55"/>
                      </a:lnTo>
                      <a:lnTo>
                        <a:pt x="55" y="63"/>
                      </a:lnTo>
                      <a:lnTo>
                        <a:pt x="39" y="79"/>
                      </a:lnTo>
                      <a:lnTo>
                        <a:pt x="15" y="71"/>
                      </a:lnTo>
                      <a:lnTo>
                        <a:pt x="0" y="55"/>
                      </a:lnTo>
                      <a:lnTo>
                        <a:pt x="0" y="31"/>
                      </a:lnTo>
                      <a:lnTo>
                        <a:pt x="15" y="16"/>
                      </a:lnTo>
                      <a:lnTo>
                        <a:pt x="31" y="8"/>
                      </a:lnTo>
                      <a:lnTo>
                        <a:pt x="39"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sp>
              <p:nvSpPr>
                <p:cNvPr id="167" name="Freeform 78"/>
                <p:cNvSpPr>
                  <a:spLocks/>
                </p:cNvSpPr>
                <p:nvPr/>
              </p:nvSpPr>
              <p:spPr bwMode="auto">
                <a:xfrm>
                  <a:off x="2860" y="2763"/>
                  <a:ext cx="37" cy="49"/>
                </a:xfrm>
                <a:custGeom>
                  <a:avLst/>
                  <a:gdLst/>
                  <a:ahLst/>
                  <a:cxnLst>
                    <a:cxn ang="0">
                      <a:pos x="39" y="0"/>
                    </a:cxn>
                    <a:cxn ang="0">
                      <a:pos x="32" y="0"/>
                    </a:cxn>
                    <a:cxn ang="0">
                      <a:pos x="16" y="8"/>
                    </a:cxn>
                    <a:cxn ang="0">
                      <a:pos x="8" y="16"/>
                    </a:cxn>
                    <a:cxn ang="0">
                      <a:pos x="0" y="40"/>
                    </a:cxn>
                    <a:cxn ang="0">
                      <a:pos x="0" y="48"/>
                    </a:cxn>
                    <a:cxn ang="0">
                      <a:pos x="8" y="48"/>
                    </a:cxn>
                    <a:cxn ang="0">
                      <a:pos x="16" y="48"/>
                    </a:cxn>
                    <a:cxn ang="0">
                      <a:pos x="32" y="40"/>
                    </a:cxn>
                    <a:cxn ang="0">
                      <a:pos x="32" y="24"/>
                    </a:cxn>
                    <a:cxn ang="0">
                      <a:pos x="39" y="16"/>
                    </a:cxn>
                    <a:cxn ang="0">
                      <a:pos x="39" y="8"/>
                    </a:cxn>
                    <a:cxn ang="0">
                      <a:pos x="39" y="0"/>
                    </a:cxn>
                  </a:cxnLst>
                  <a:rect l="0" t="0" r="r" b="b"/>
                  <a:pathLst>
                    <a:path w="40" h="49">
                      <a:moveTo>
                        <a:pt x="39" y="0"/>
                      </a:moveTo>
                      <a:lnTo>
                        <a:pt x="32" y="0"/>
                      </a:lnTo>
                      <a:lnTo>
                        <a:pt x="16" y="8"/>
                      </a:lnTo>
                      <a:lnTo>
                        <a:pt x="8" y="16"/>
                      </a:lnTo>
                      <a:lnTo>
                        <a:pt x="0" y="40"/>
                      </a:lnTo>
                      <a:lnTo>
                        <a:pt x="0" y="48"/>
                      </a:lnTo>
                      <a:lnTo>
                        <a:pt x="8" y="48"/>
                      </a:lnTo>
                      <a:lnTo>
                        <a:pt x="16" y="48"/>
                      </a:lnTo>
                      <a:lnTo>
                        <a:pt x="32" y="40"/>
                      </a:lnTo>
                      <a:lnTo>
                        <a:pt x="32" y="24"/>
                      </a:lnTo>
                      <a:lnTo>
                        <a:pt x="39" y="16"/>
                      </a:lnTo>
                      <a:lnTo>
                        <a:pt x="39" y="8"/>
                      </a:lnTo>
                      <a:lnTo>
                        <a:pt x="39" y="0"/>
                      </a:lnTo>
                    </a:path>
                  </a:pathLst>
                </a:custGeom>
                <a:grpFill/>
                <a:ln w="6350" cap="rnd">
                  <a:solidFill>
                    <a:schemeClr val="bg1">
                      <a:lumMod val="50000"/>
                    </a:schemeClr>
                  </a:solidFill>
                  <a:round/>
                  <a:headEnd/>
                  <a:tailEnd/>
                </a:ln>
                <a:effectLst/>
              </p:spPr>
              <p:txBody>
                <a:bodyPr/>
                <a:lstStyle/>
                <a:p>
                  <a:endParaRPr lang="en-GB" sz="2215" dirty="0"/>
                </a:p>
              </p:txBody>
            </p:sp>
            <p:sp>
              <p:nvSpPr>
                <p:cNvPr id="168" name="Freeform 79"/>
                <p:cNvSpPr>
                  <a:spLocks/>
                </p:cNvSpPr>
                <p:nvPr/>
              </p:nvSpPr>
              <p:spPr bwMode="auto">
                <a:xfrm>
                  <a:off x="2860" y="2763"/>
                  <a:ext cx="37" cy="49"/>
                </a:xfrm>
                <a:custGeom>
                  <a:avLst/>
                  <a:gdLst/>
                  <a:ahLst/>
                  <a:cxnLst>
                    <a:cxn ang="0">
                      <a:pos x="39" y="0"/>
                    </a:cxn>
                    <a:cxn ang="0">
                      <a:pos x="32" y="0"/>
                    </a:cxn>
                    <a:cxn ang="0">
                      <a:pos x="16" y="8"/>
                    </a:cxn>
                    <a:cxn ang="0">
                      <a:pos x="8" y="16"/>
                    </a:cxn>
                    <a:cxn ang="0">
                      <a:pos x="0" y="40"/>
                    </a:cxn>
                    <a:cxn ang="0">
                      <a:pos x="0" y="48"/>
                    </a:cxn>
                    <a:cxn ang="0">
                      <a:pos x="8" y="48"/>
                    </a:cxn>
                    <a:cxn ang="0">
                      <a:pos x="16" y="48"/>
                    </a:cxn>
                    <a:cxn ang="0">
                      <a:pos x="32" y="40"/>
                    </a:cxn>
                    <a:cxn ang="0">
                      <a:pos x="32" y="24"/>
                    </a:cxn>
                    <a:cxn ang="0">
                      <a:pos x="39" y="16"/>
                    </a:cxn>
                    <a:cxn ang="0">
                      <a:pos x="39" y="8"/>
                    </a:cxn>
                    <a:cxn ang="0">
                      <a:pos x="39" y="0"/>
                    </a:cxn>
                  </a:cxnLst>
                  <a:rect l="0" t="0" r="r" b="b"/>
                  <a:pathLst>
                    <a:path w="40" h="49">
                      <a:moveTo>
                        <a:pt x="39" y="0"/>
                      </a:moveTo>
                      <a:lnTo>
                        <a:pt x="32" y="0"/>
                      </a:lnTo>
                      <a:lnTo>
                        <a:pt x="16" y="8"/>
                      </a:lnTo>
                      <a:lnTo>
                        <a:pt x="8" y="16"/>
                      </a:lnTo>
                      <a:lnTo>
                        <a:pt x="0" y="40"/>
                      </a:lnTo>
                      <a:lnTo>
                        <a:pt x="0" y="48"/>
                      </a:lnTo>
                      <a:lnTo>
                        <a:pt x="8" y="48"/>
                      </a:lnTo>
                      <a:lnTo>
                        <a:pt x="16" y="48"/>
                      </a:lnTo>
                      <a:lnTo>
                        <a:pt x="32" y="40"/>
                      </a:lnTo>
                      <a:lnTo>
                        <a:pt x="32" y="24"/>
                      </a:lnTo>
                      <a:lnTo>
                        <a:pt x="39" y="16"/>
                      </a:lnTo>
                      <a:lnTo>
                        <a:pt x="39" y="8"/>
                      </a:lnTo>
                      <a:lnTo>
                        <a:pt x="39" y="0"/>
                      </a:lnTo>
                    </a:path>
                  </a:pathLst>
                </a:custGeom>
                <a:grpFill/>
                <a:ln w="6350" cap="rnd" cmpd="sng">
                  <a:solidFill>
                    <a:schemeClr val="bg1">
                      <a:lumMod val="50000"/>
                    </a:schemeClr>
                  </a:solidFill>
                  <a:prstDash val="solid"/>
                  <a:round/>
                  <a:headEnd type="none" w="sm" len="sm"/>
                  <a:tailEnd type="none" w="sm" len="sm"/>
                </a:ln>
                <a:effectLst/>
              </p:spPr>
              <p:txBody>
                <a:bodyPr/>
                <a:lstStyle/>
                <a:p>
                  <a:endParaRPr lang="en-GB" sz="2215" dirty="0"/>
                </a:p>
              </p:txBody>
            </p:sp>
          </p:grpSp>
          <p:grpSp>
            <p:nvGrpSpPr>
              <p:cNvPr id="23" name="Group 91"/>
              <p:cNvGrpSpPr/>
              <p:nvPr/>
            </p:nvGrpSpPr>
            <p:grpSpPr>
              <a:xfrm>
                <a:off x="7065779" y="4128656"/>
                <a:ext cx="1141831" cy="917706"/>
                <a:chOff x="1444655" y="428604"/>
                <a:chExt cx="5842132" cy="5648325"/>
              </a:xfrm>
              <a:solidFill>
                <a:schemeClr val="bg1">
                  <a:lumMod val="75000"/>
                </a:schemeClr>
              </a:solidFill>
            </p:grpSpPr>
            <p:sp>
              <p:nvSpPr>
                <p:cNvPr id="31" name="Freeform 129"/>
                <p:cNvSpPr>
                  <a:spLocks/>
                </p:cNvSpPr>
                <p:nvPr>
                  <p:custDataLst>
                    <p:tags r:id="rId2"/>
                  </p:custDataLst>
                </p:nvPr>
              </p:nvSpPr>
              <p:spPr bwMode="auto">
                <a:xfrm>
                  <a:off x="3369103" y="4886304"/>
                  <a:ext cx="77390" cy="53975"/>
                </a:xfrm>
                <a:custGeom>
                  <a:avLst/>
                  <a:gdLst/>
                  <a:ahLst/>
                  <a:cxnLst>
                    <a:cxn ang="0">
                      <a:pos x="0" y="21"/>
                    </a:cxn>
                    <a:cxn ang="0">
                      <a:pos x="7" y="9"/>
                    </a:cxn>
                    <a:cxn ang="0">
                      <a:pos x="19" y="3"/>
                    </a:cxn>
                    <a:cxn ang="0">
                      <a:pos x="36" y="0"/>
                    </a:cxn>
                    <a:cxn ang="0">
                      <a:pos x="46" y="0"/>
                    </a:cxn>
                    <a:cxn ang="0">
                      <a:pos x="60" y="19"/>
                    </a:cxn>
                    <a:cxn ang="0">
                      <a:pos x="60" y="40"/>
                    </a:cxn>
                    <a:cxn ang="0">
                      <a:pos x="46" y="52"/>
                    </a:cxn>
                    <a:cxn ang="0">
                      <a:pos x="36" y="52"/>
                    </a:cxn>
                    <a:cxn ang="0">
                      <a:pos x="23" y="50"/>
                    </a:cxn>
                    <a:cxn ang="0">
                      <a:pos x="7" y="44"/>
                    </a:cxn>
                    <a:cxn ang="0">
                      <a:pos x="0" y="21"/>
                    </a:cxn>
                    <a:cxn ang="0">
                      <a:pos x="0" y="21"/>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32" name="Freeform 131"/>
                <p:cNvSpPr>
                  <a:spLocks/>
                </p:cNvSpPr>
                <p:nvPr>
                  <p:custDataLst>
                    <p:tags r:id="rId3"/>
                  </p:custDataLst>
                </p:nvPr>
              </p:nvSpPr>
              <p:spPr bwMode="auto">
                <a:xfrm>
                  <a:off x="4600473" y="428604"/>
                  <a:ext cx="2344075" cy="2092325"/>
                </a:xfrm>
                <a:custGeom>
                  <a:avLst/>
                  <a:gdLst/>
                  <a:ahLst/>
                  <a:cxnLst>
                    <a:cxn ang="0">
                      <a:pos x="534" y="1809"/>
                    </a:cxn>
                    <a:cxn ang="0">
                      <a:pos x="635" y="1681"/>
                    </a:cxn>
                    <a:cxn ang="0">
                      <a:pos x="666" y="1493"/>
                    </a:cxn>
                    <a:cxn ang="0">
                      <a:pos x="650" y="1349"/>
                    </a:cxn>
                    <a:cxn ang="0">
                      <a:pos x="666" y="1163"/>
                    </a:cxn>
                    <a:cxn ang="0">
                      <a:pos x="796" y="1121"/>
                    </a:cxn>
                    <a:cxn ang="0">
                      <a:pos x="823" y="977"/>
                    </a:cxn>
                    <a:cxn ang="0">
                      <a:pos x="896" y="789"/>
                    </a:cxn>
                    <a:cxn ang="0">
                      <a:pos x="1011" y="645"/>
                    </a:cxn>
                    <a:cxn ang="0">
                      <a:pos x="1083" y="502"/>
                    </a:cxn>
                    <a:cxn ang="0">
                      <a:pos x="1183" y="459"/>
                    </a:cxn>
                    <a:cxn ang="0">
                      <a:pos x="1269" y="316"/>
                    </a:cxn>
                    <a:cxn ang="0">
                      <a:pos x="1385" y="401"/>
                    </a:cxn>
                    <a:cxn ang="0">
                      <a:pos x="1531" y="358"/>
                    </a:cxn>
                    <a:cxn ang="0">
                      <a:pos x="1602" y="201"/>
                    </a:cxn>
                    <a:cxn ang="0">
                      <a:pos x="1732" y="244"/>
                    </a:cxn>
                    <a:cxn ang="0">
                      <a:pos x="1732" y="343"/>
                    </a:cxn>
                    <a:cxn ang="0">
                      <a:pos x="1789" y="186"/>
                    </a:cxn>
                    <a:cxn ang="0">
                      <a:pos x="1802" y="85"/>
                    </a:cxn>
                    <a:cxn ang="0">
                      <a:pos x="1672" y="85"/>
                    </a:cxn>
                    <a:cxn ang="0">
                      <a:pos x="1616" y="29"/>
                    </a:cxn>
                    <a:cxn ang="0">
                      <a:pos x="1558" y="56"/>
                    </a:cxn>
                    <a:cxn ang="0">
                      <a:pos x="1500" y="143"/>
                    </a:cxn>
                    <a:cxn ang="0">
                      <a:pos x="1542" y="0"/>
                    </a:cxn>
                    <a:cxn ang="0">
                      <a:pos x="1428" y="70"/>
                    </a:cxn>
                    <a:cxn ang="0">
                      <a:pos x="1372" y="157"/>
                    </a:cxn>
                    <a:cxn ang="0">
                      <a:pos x="1284" y="186"/>
                    </a:cxn>
                    <a:cxn ang="0">
                      <a:pos x="1226" y="244"/>
                    </a:cxn>
                    <a:cxn ang="0">
                      <a:pos x="1168" y="287"/>
                    </a:cxn>
                    <a:cxn ang="0">
                      <a:pos x="1096" y="358"/>
                    </a:cxn>
                    <a:cxn ang="0">
                      <a:pos x="1024" y="459"/>
                    </a:cxn>
                    <a:cxn ang="0">
                      <a:pos x="995" y="488"/>
                    </a:cxn>
                    <a:cxn ang="0">
                      <a:pos x="966" y="531"/>
                    </a:cxn>
                    <a:cxn ang="0">
                      <a:pos x="953" y="560"/>
                    </a:cxn>
                    <a:cxn ang="0">
                      <a:pos x="908" y="630"/>
                    </a:cxn>
                    <a:cxn ang="0">
                      <a:pos x="807" y="688"/>
                    </a:cxn>
                    <a:cxn ang="0">
                      <a:pos x="807" y="775"/>
                    </a:cxn>
                    <a:cxn ang="0">
                      <a:pos x="720" y="847"/>
                    </a:cxn>
                    <a:cxn ang="0">
                      <a:pos x="706" y="903"/>
                    </a:cxn>
                    <a:cxn ang="0">
                      <a:pos x="664" y="1004"/>
                    </a:cxn>
                    <a:cxn ang="0">
                      <a:pos x="576" y="1033"/>
                    </a:cxn>
                    <a:cxn ang="0">
                      <a:pos x="491" y="1121"/>
                    </a:cxn>
                    <a:cxn ang="0">
                      <a:pos x="390" y="1177"/>
                    </a:cxn>
                    <a:cxn ang="0">
                      <a:pos x="332" y="1220"/>
                    </a:cxn>
                    <a:cxn ang="0">
                      <a:pos x="245" y="1249"/>
                    </a:cxn>
                    <a:cxn ang="0">
                      <a:pos x="173" y="1291"/>
                    </a:cxn>
                    <a:cxn ang="0">
                      <a:pos x="115" y="1334"/>
                    </a:cxn>
                    <a:cxn ang="0">
                      <a:pos x="86" y="1408"/>
                    </a:cxn>
                    <a:cxn ang="0">
                      <a:pos x="57" y="1448"/>
                    </a:cxn>
                    <a:cxn ang="0">
                      <a:pos x="43" y="1551"/>
                    </a:cxn>
                    <a:cxn ang="0">
                      <a:pos x="130" y="1594"/>
                    </a:cxn>
                    <a:cxn ang="0">
                      <a:pos x="43" y="1681"/>
                    </a:cxn>
                    <a:cxn ang="0">
                      <a:pos x="72" y="1737"/>
                    </a:cxn>
                    <a:cxn ang="0">
                      <a:pos x="29" y="1852"/>
                    </a:cxn>
                    <a:cxn ang="0">
                      <a:pos x="157" y="1966"/>
                    </a:cxn>
                    <a:cxn ang="0">
                      <a:pos x="332" y="1881"/>
                    </a:cxn>
                    <a:cxn ang="0">
                      <a:pos x="446" y="1809"/>
                    </a:cxn>
                    <a:cxn ang="0">
                      <a:pos x="491" y="1751"/>
                    </a:cxn>
                  </a:cxnLst>
                  <a:rect l="0" t="0" r="r" b="b"/>
                  <a:pathLst>
                    <a:path w="1835" h="1966">
                      <a:moveTo>
                        <a:pt x="507" y="1838"/>
                      </a:moveTo>
                      <a:lnTo>
                        <a:pt x="520" y="1838"/>
                      </a:lnTo>
                      <a:lnTo>
                        <a:pt x="520" y="1852"/>
                      </a:lnTo>
                      <a:lnTo>
                        <a:pt x="534" y="1867"/>
                      </a:lnTo>
                      <a:lnTo>
                        <a:pt x="549" y="1852"/>
                      </a:lnTo>
                      <a:lnTo>
                        <a:pt x="549" y="1838"/>
                      </a:lnTo>
                      <a:lnTo>
                        <a:pt x="549" y="1823"/>
                      </a:lnTo>
                      <a:lnTo>
                        <a:pt x="534" y="1809"/>
                      </a:lnTo>
                      <a:lnTo>
                        <a:pt x="563" y="1780"/>
                      </a:lnTo>
                      <a:lnTo>
                        <a:pt x="563" y="1766"/>
                      </a:lnTo>
                      <a:lnTo>
                        <a:pt x="578" y="1751"/>
                      </a:lnTo>
                      <a:lnTo>
                        <a:pt x="578" y="1737"/>
                      </a:lnTo>
                      <a:lnTo>
                        <a:pt x="592" y="1722"/>
                      </a:lnTo>
                      <a:lnTo>
                        <a:pt x="607" y="1722"/>
                      </a:lnTo>
                      <a:lnTo>
                        <a:pt x="621" y="1722"/>
                      </a:lnTo>
                      <a:lnTo>
                        <a:pt x="635" y="1681"/>
                      </a:lnTo>
                      <a:lnTo>
                        <a:pt x="635" y="1636"/>
                      </a:lnTo>
                      <a:lnTo>
                        <a:pt x="635" y="1623"/>
                      </a:lnTo>
                      <a:lnTo>
                        <a:pt x="635" y="1607"/>
                      </a:lnTo>
                      <a:lnTo>
                        <a:pt x="621" y="1580"/>
                      </a:lnTo>
                      <a:lnTo>
                        <a:pt x="621" y="1565"/>
                      </a:lnTo>
                      <a:lnTo>
                        <a:pt x="666" y="1536"/>
                      </a:lnTo>
                      <a:lnTo>
                        <a:pt x="666" y="1522"/>
                      </a:lnTo>
                      <a:lnTo>
                        <a:pt x="666" y="1493"/>
                      </a:lnTo>
                      <a:lnTo>
                        <a:pt x="666" y="1477"/>
                      </a:lnTo>
                      <a:lnTo>
                        <a:pt x="650" y="1464"/>
                      </a:lnTo>
                      <a:lnTo>
                        <a:pt x="635" y="1448"/>
                      </a:lnTo>
                      <a:lnTo>
                        <a:pt x="635" y="1435"/>
                      </a:lnTo>
                      <a:lnTo>
                        <a:pt x="635" y="1421"/>
                      </a:lnTo>
                      <a:lnTo>
                        <a:pt x="650" y="1392"/>
                      </a:lnTo>
                      <a:lnTo>
                        <a:pt x="650" y="1379"/>
                      </a:lnTo>
                      <a:lnTo>
                        <a:pt x="650" y="1349"/>
                      </a:lnTo>
                      <a:lnTo>
                        <a:pt x="635" y="1334"/>
                      </a:lnTo>
                      <a:lnTo>
                        <a:pt x="635" y="1320"/>
                      </a:lnTo>
                      <a:lnTo>
                        <a:pt x="635" y="1291"/>
                      </a:lnTo>
                      <a:lnTo>
                        <a:pt x="650" y="1278"/>
                      </a:lnTo>
                      <a:lnTo>
                        <a:pt x="650" y="1249"/>
                      </a:lnTo>
                      <a:lnTo>
                        <a:pt x="650" y="1220"/>
                      </a:lnTo>
                      <a:lnTo>
                        <a:pt x="650" y="1190"/>
                      </a:lnTo>
                      <a:lnTo>
                        <a:pt x="666" y="1163"/>
                      </a:lnTo>
                      <a:lnTo>
                        <a:pt x="679" y="1148"/>
                      </a:lnTo>
                      <a:lnTo>
                        <a:pt x="708" y="1134"/>
                      </a:lnTo>
                      <a:lnTo>
                        <a:pt x="708" y="1148"/>
                      </a:lnTo>
                      <a:lnTo>
                        <a:pt x="722" y="1148"/>
                      </a:lnTo>
                      <a:lnTo>
                        <a:pt x="737" y="1134"/>
                      </a:lnTo>
                      <a:lnTo>
                        <a:pt x="751" y="1121"/>
                      </a:lnTo>
                      <a:lnTo>
                        <a:pt x="766" y="1121"/>
                      </a:lnTo>
                      <a:lnTo>
                        <a:pt x="796" y="1121"/>
                      </a:lnTo>
                      <a:lnTo>
                        <a:pt x="809" y="1105"/>
                      </a:lnTo>
                      <a:lnTo>
                        <a:pt x="796" y="1076"/>
                      </a:lnTo>
                      <a:lnTo>
                        <a:pt x="796" y="1062"/>
                      </a:lnTo>
                      <a:lnTo>
                        <a:pt x="796" y="1047"/>
                      </a:lnTo>
                      <a:lnTo>
                        <a:pt x="780" y="1020"/>
                      </a:lnTo>
                      <a:lnTo>
                        <a:pt x="796" y="1004"/>
                      </a:lnTo>
                      <a:lnTo>
                        <a:pt x="823" y="991"/>
                      </a:lnTo>
                      <a:lnTo>
                        <a:pt x="823" y="977"/>
                      </a:lnTo>
                      <a:lnTo>
                        <a:pt x="838" y="932"/>
                      </a:lnTo>
                      <a:lnTo>
                        <a:pt x="838" y="919"/>
                      </a:lnTo>
                      <a:lnTo>
                        <a:pt x="838" y="903"/>
                      </a:lnTo>
                      <a:lnTo>
                        <a:pt x="838" y="874"/>
                      </a:lnTo>
                      <a:lnTo>
                        <a:pt x="852" y="861"/>
                      </a:lnTo>
                      <a:lnTo>
                        <a:pt x="865" y="832"/>
                      </a:lnTo>
                      <a:lnTo>
                        <a:pt x="865" y="803"/>
                      </a:lnTo>
                      <a:lnTo>
                        <a:pt x="896" y="789"/>
                      </a:lnTo>
                      <a:lnTo>
                        <a:pt x="924" y="775"/>
                      </a:lnTo>
                      <a:lnTo>
                        <a:pt x="937" y="762"/>
                      </a:lnTo>
                      <a:lnTo>
                        <a:pt x="937" y="748"/>
                      </a:lnTo>
                      <a:lnTo>
                        <a:pt x="937" y="717"/>
                      </a:lnTo>
                      <a:lnTo>
                        <a:pt x="966" y="704"/>
                      </a:lnTo>
                      <a:lnTo>
                        <a:pt x="995" y="675"/>
                      </a:lnTo>
                      <a:lnTo>
                        <a:pt x="995" y="659"/>
                      </a:lnTo>
                      <a:lnTo>
                        <a:pt x="1011" y="645"/>
                      </a:lnTo>
                      <a:lnTo>
                        <a:pt x="995" y="616"/>
                      </a:lnTo>
                      <a:lnTo>
                        <a:pt x="982" y="603"/>
                      </a:lnTo>
                      <a:lnTo>
                        <a:pt x="995" y="587"/>
                      </a:lnTo>
                      <a:lnTo>
                        <a:pt x="1011" y="574"/>
                      </a:lnTo>
                      <a:lnTo>
                        <a:pt x="1053" y="545"/>
                      </a:lnTo>
                      <a:lnTo>
                        <a:pt x="1053" y="531"/>
                      </a:lnTo>
                      <a:lnTo>
                        <a:pt x="1069" y="502"/>
                      </a:lnTo>
                      <a:lnTo>
                        <a:pt x="1083" y="502"/>
                      </a:lnTo>
                      <a:lnTo>
                        <a:pt x="1112" y="516"/>
                      </a:lnTo>
                      <a:lnTo>
                        <a:pt x="1125" y="516"/>
                      </a:lnTo>
                      <a:lnTo>
                        <a:pt x="1125" y="502"/>
                      </a:lnTo>
                      <a:lnTo>
                        <a:pt x="1125" y="473"/>
                      </a:lnTo>
                      <a:lnTo>
                        <a:pt x="1154" y="459"/>
                      </a:lnTo>
                      <a:lnTo>
                        <a:pt x="1168" y="473"/>
                      </a:lnTo>
                      <a:lnTo>
                        <a:pt x="1183" y="473"/>
                      </a:lnTo>
                      <a:lnTo>
                        <a:pt x="1183" y="459"/>
                      </a:lnTo>
                      <a:lnTo>
                        <a:pt x="1197" y="415"/>
                      </a:lnTo>
                      <a:lnTo>
                        <a:pt x="1226" y="430"/>
                      </a:lnTo>
                      <a:lnTo>
                        <a:pt x="1226" y="415"/>
                      </a:lnTo>
                      <a:lnTo>
                        <a:pt x="1226" y="388"/>
                      </a:lnTo>
                      <a:lnTo>
                        <a:pt x="1226" y="372"/>
                      </a:lnTo>
                      <a:lnTo>
                        <a:pt x="1255" y="372"/>
                      </a:lnTo>
                      <a:lnTo>
                        <a:pt x="1255" y="343"/>
                      </a:lnTo>
                      <a:lnTo>
                        <a:pt x="1269" y="316"/>
                      </a:lnTo>
                      <a:lnTo>
                        <a:pt x="1284" y="316"/>
                      </a:lnTo>
                      <a:lnTo>
                        <a:pt x="1298" y="329"/>
                      </a:lnTo>
                      <a:lnTo>
                        <a:pt x="1329" y="343"/>
                      </a:lnTo>
                      <a:lnTo>
                        <a:pt x="1329" y="358"/>
                      </a:lnTo>
                      <a:lnTo>
                        <a:pt x="1342" y="388"/>
                      </a:lnTo>
                      <a:lnTo>
                        <a:pt x="1358" y="388"/>
                      </a:lnTo>
                      <a:lnTo>
                        <a:pt x="1372" y="388"/>
                      </a:lnTo>
                      <a:lnTo>
                        <a:pt x="1385" y="401"/>
                      </a:lnTo>
                      <a:lnTo>
                        <a:pt x="1430" y="401"/>
                      </a:lnTo>
                      <a:lnTo>
                        <a:pt x="1443" y="388"/>
                      </a:lnTo>
                      <a:lnTo>
                        <a:pt x="1457" y="388"/>
                      </a:lnTo>
                      <a:lnTo>
                        <a:pt x="1472" y="415"/>
                      </a:lnTo>
                      <a:lnTo>
                        <a:pt x="1501" y="401"/>
                      </a:lnTo>
                      <a:lnTo>
                        <a:pt x="1515" y="401"/>
                      </a:lnTo>
                      <a:lnTo>
                        <a:pt x="1515" y="388"/>
                      </a:lnTo>
                      <a:lnTo>
                        <a:pt x="1531" y="358"/>
                      </a:lnTo>
                      <a:lnTo>
                        <a:pt x="1544" y="343"/>
                      </a:lnTo>
                      <a:lnTo>
                        <a:pt x="1544" y="329"/>
                      </a:lnTo>
                      <a:lnTo>
                        <a:pt x="1544" y="316"/>
                      </a:lnTo>
                      <a:lnTo>
                        <a:pt x="1544" y="302"/>
                      </a:lnTo>
                      <a:lnTo>
                        <a:pt x="1558" y="273"/>
                      </a:lnTo>
                      <a:lnTo>
                        <a:pt x="1558" y="215"/>
                      </a:lnTo>
                      <a:lnTo>
                        <a:pt x="1573" y="201"/>
                      </a:lnTo>
                      <a:lnTo>
                        <a:pt x="1602" y="201"/>
                      </a:lnTo>
                      <a:lnTo>
                        <a:pt x="1631" y="186"/>
                      </a:lnTo>
                      <a:lnTo>
                        <a:pt x="1645" y="172"/>
                      </a:lnTo>
                      <a:lnTo>
                        <a:pt x="1661" y="172"/>
                      </a:lnTo>
                      <a:lnTo>
                        <a:pt x="1645" y="201"/>
                      </a:lnTo>
                      <a:lnTo>
                        <a:pt x="1690" y="215"/>
                      </a:lnTo>
                      <a:lnTo>
                        <a:pt x="1703" y="215"/>
                      </a:lnTo>
                      <a:lnTo>
                        <a:pt x="1717" y="229"/>
                      </a:lnTo>
                      <a:lnTo>
                        <a:pt x="1732" y="244"/>
                      </a:lnTo>
                      <a:lnTo>
                        <a:pt x="1732" y="258"/>
                      </a:lnTo>
                      <a:lnTo>
                        <a:pt x="1717" y="273"/>
                      </a:lnTo>
                      <a:lnTo>
                        <a:pt x="1717" y="302"/>
                      </a:lnTo>
                      <a:lnTo>
                        <a:pt x="1717" y="316"/>
                      </a:lnTo>
                      <a:lnTo>
                        <a:pt x="1717" y="329"/>
                      </a:lnTo>
                      <a:lnTo>
                        <a:pt x="1717" y="343"/>
                      </a:lnTo>
                      <a:lnTo>
                        <a:pt x="1732" y="343"/>
                      </a:lnTo>
                      <a:lnTo>
                        <a:pt x="1732" y="343"/>
                      </a:lnTo>
                      <a:lnTo>
                        <a:pt x="1738" y="293"/>
                      </a:lnTo>
                      <a:lnTo>
                        <a:pt x="1757" y="260"/>
                      </a:lnTo>
                      <a:lnTo>
                        <a:pt x="1789" y="240"/>
                      </a:lnTo>
                      <a:lnTo>
                        <a:pt x="1821" y="234"/>
                      </a:lnTo>
                      <a:lnTo>
                        <a:pt x="1835" y="184"/>
                      </a:lnTo>
                      <a:lnTo>
                        <a:pt x="1831" y="186"/>
                      </a:lnTo>
                      <a:lnTo>
                        <a:pt x="1802" y="186"/>
                      </a:lnTo>
                      <a:lnTo>
                        <a:pt x="1789" y="186"/>
                      </a:lnTo>
                      <a:lnTo>
                        <a:pt x="1802" y="172"/>
                      </a:lnTo>
                      <a:lnTo>
                        <a:pt x="1802" y="143"/>
                      </a:lnTo>
                      <a:lnTo>
                        <a:pt x="1789" y="128"/>
                      </a:lnTo>
                      <a:lnTo>
                        <a:pt x="1802" y="128"/>
                      </a:lnTo>
                      <a:lnTo>
                        <a:pt x="1818" y="114"/>
                      </a:lnTo>
                      <a:lnTo>
                        <a:pt x="1818" y="99"/>
                      </a:lnTo>
                      <a:lnTo>
                        <a:pt x="1818" y="85"/>
                      </a:lnTo>
                      <a:lnTo>
                        <a:pt x="1802" y="85"/>
                      </a:lnTo>
                      <a:lnTo>
                        <a:pt x="1802" y="70"/>
                      </a:lnTo>
                      <a:lnTo>
                        <a:pt x="1773" y="70"/>
                      </a:lnTo>
                      <a:lnTo>
                        <a:pt x="1746" y="85"/>
                      </a:lnTo>
                      <a:lnTo>
                        <a:pt x="1746" y="56"/>
                      </a:lnTo>
                      <a:lnTo>
                        <a:pt x="1717" y="56"/>
                      </a:lnTo>
                      <a:lnTo>
                        <a:pt x="1701" y="42"/>
                      </a:lnTo>
                      <a:lnTo>
                        <a:pt x="1672" y="70"/>
                      </a:lnTo>
                      <a:lnTo>
                        <a:pt x="1672" y="85"/>
                      </a:lnTo>
                      <a:lnTo>
                        <a:pt x="1661" y="99"/>
                      </a:lnTo>
                      <a:lnTo>
                        <a:pt x="1645" y="70"/>
                      </a:lnTo>
                      <a:lnTo>
                        <a:pt x="1645" y="56"/>
                      </a:lnTo>
                      <a:lnTo>
                        <a:pt x="1661" y="42"/>
                      </a:lnTo>
                      <a:lnTo>
                        <a:pt x="1661" y="29"/>
                      </a:lnTo>
                      <a:lnTo>
                        <a:pt x="1661" y="0"/>
                      </a:lnTo>
                      <a:lnTo>
                        <a:pt x="1645" y="0"/>
                      </a:lnTo>
                      <a:lnTo>
                        <a:pt x="1616" y="29"/>
                      </a:lnTo>
                      <a:lnTo>
                        <a:pt x="1616" y="42"/>
                      </a:lnTo>
                      <a:lnTo>
                        <a:pt x="1587" y="56"/>
                      </a:lnTo>
                      <a:lnTo>
                        <a:pt x="1587" y="99"/>
                      </a:lnTo>
                      <a:lnTo>
                        <a:pt x="1587" y="114"/>
                      </a:lnTo>
                      <a:lnTo>
                        <a:pt x="1571" y="99"/>
                      </a:lnTo>
                      <a:lnTo>
                        <a:pt x="1571" y="85"/>
                      </a:lnTo>
                      <a:lnTo>
                        <a:pt x="1558" y="70"/>
                      </a:lnTo>
                      <a:lnTo>
                        <a:pt x="1558" y="56"/>
                      </a:lnTo>
                      <a:lnTo>
                        <a:pt x="1558" y="42"/>
                      </a:lnTo>
                      <a:lnTo>
                        <a:pt x="1558" y="29"/>
                      </a:lnTo>
                      <a:lnTo>
                        <a:pt x="1542" y="29"/>
                      </a:lnTo>
                      <a:lnTo>
                        <a:pt x="1542" y="42"/>
                      </a:lnTo>
                      <a:lnTo>
                        <a:pt x="1542" y="56"/>
                      </a:lnTo>
                      <a:lnTo>
                        <a:pt x="1529" y="85"/>
                      </a:lnTo>
                      <a:lnTo>
                        <a:pt x="1513" y="114"/>
                      </a:lnTo>
                      <a:lnTo>
                        <a:pt x="1500" y="143"/>
                      </a:lnTo>
                      <a:lnTo>
                        <a:pt x="1500" y="128"/>
                      </a:lnTo>
                      <a:lnTo>
                        <a:pt x="1500" y="114"/>
                      </a:lnTo>
                      <a:lnTo>
                        <a:pt x="1500" y="85"/>
                      </a:lnTo>
                      <a:lnTo>
                        <a:pt x="1529" y="70"/>
                      </a:lnTo>
                      <a:lnTo>
                        <a:pt x="1529" y="56"/>
                      </a:lnTo>
                      <a:lnTo>
                        <a:pt x="1542" y="29"/>
                      </a:lnTo>
                      <a:lnTo>
                        <a:pt x="1558" y="15"/>
                      </a:lnTo>
                      <a:lnTo>
                        <a:pt x="1542" y="0"/>
                      </a:lnTo>
                      <a:lnTo>
                        <a:pt x="1500" y="29"/>
                      </a:lnTo>
                      <a:lnTo>
                        <a:pt x="1484" y="15"/>
                      </a:lnTo>
                      <a:lnTo>
                        <a:pt x="1472" y="29"/>
                      </a:lnTo>
                      <a:lnTo>
                        <a:pt x="1472" y="42"/>
                      </a:lnTo>
                      <a:lnTo>
                        <a:pt x="1500" y="56"/>
                      </a:lnTo>
                      <a:lnTo>
                        <a:pt x="1457" y="70"/>
                      </a:lnTo>
                      <a:lnTo>
                        <a:pt x="1441" y="56"/>
                      </a:lnTo>
                      <a:lnTo>
                        <a:pt x="1428" y="70"/>
                      </a:lnTo>
                      <a:lnTo>
                        <a:pt x="1428" y="99"/>
                      </a:lnTo>
                      <a:lnTo>
                        <a:pt x="1414" y="99"/>
                      </a:lnTo>
                      <a:lnTo>
                        <a:pt x="1428" y="114"/>
                      </a:lnTo>
                      <a:lnTo>
                        <a:pt x="1399" y="143"/>
                      </a:lnTo>
                      <a:lnTo>
                        <a:pt x="1385" y="114"/>
                      </a:lnTo>
                      <a:lnTo>
                        <a:pt x="1372" y="128"/>
                      </a:lnTo>
                      <a:lnTo>
                        <a:pt x="1372" y="143"/>
                      </a:lnTo>
                      <a:lnTo>
                        <a:pt x="1372" y="157"/>
                      </a:lnTo>
                      <a:lnTo>
                        <a:pt x="1356" y="172"/>
                      </a:lnTo>
                      <a:lnTo>
                        <a:pt x="1342" y="157"/>
                      </a:lnTo>
                      <a:lnTo>
                        <a:pt x="1327" y="157"/>
                      </a:lnTo>
                      <a:lnTo>
                        <a:pt x="1327" y="172"/>
                      </a:lnTo>
                      <a:lnTo>
                        <a:pt x="1313" y="157"/>
                      </a:lnTo>
                      <a:lnTo>
                        <a:pt x="1298" y="157"/>
                      </a:lnTo>
                      <a:lnTo>
                        <a:pt x="1284" y="172"/>
                      </a:lnTo>
                      <a:lnTo>
                        <a:pt x="1284" y="186"/>
                      </a:lnTo>
                      <a:lnTo>
                        <a:pt x="1269" y="186"/>
                      </a:lnTo>
                      <a:lnTo>
                        <a:pt x="1255" y="201"/>
                      </a:lnTo>
                      <a:lnTo>
                        <a:pt x="1255" y="229"/>
                      </a:lnTo>
                      <a:lnTo>
                        <a:pt x="1269" y="244"/>
                      </a:lnTo>
                      <a:lnTo>
                        <a:pt x="1269" y="273"/>
                      </a:lnTo>
                      <a:lnTo>
                        <a:pt x="1255" y="258"/>
                      </a:lnTo>
                      <a:lnTo>
                        <a:pt x="1240" y="244"/>
                      </a:lnTo>
                      <a:lnTo>
                        <a:pt x="1226" y="244"/>
                      </a:lnTo>
                      <a:lnTo>
                        <a:pt x="1211" y="273"/>
                      </a:lnTo>
                      <a:lnTo>
                        <a:pt x="1197" y="244"/>
                      </a:lnTo>
                      <a:lnTo>
                        <a:pt x="1183" y="258"/>
                      </a:lnTo>
                      <a:lnTo>
                        <a:pt x="1183" y="287"/>
                      </a:lnTo>
                      <a:lnTo>
                        <a:pt x="1197" y="316"/>
                      </a:lnTo>
                      <a:lnTo>
                        <a:pt x="1197" y="329"/>
                      </a:lnTo>
                      <a:lnTo>
                        <a:pt x="1183" y="316"/>
                      </a:lnTo>
                      <a:lnTo>
                        <a:pt x="1168" y="287"/>
                      </a:lnTo>
                      <a:lnTo>
                        <a:pt x="1168" y="316"/>
                      </a:lnTo>
                      <a:lnTo>
                        <a:pt x="1154" y="343"/>
                      </a:lnTo>
                      <a:lnTo>
                        <a:pt x="1139" y="329"/>
                      </a:lnTo>
                      <a:lnTo>
                        <a:pt x="1139" y="302"/>
                      </a:lnTo>
                      <a:lnTo>
                        <a:pt x="1125" y="316"/>
                      </a:lnTo>
                      <a:lnTo>
                        <a:pt x="1125" y="358"/>
                      </a:lnTo>
                      <a:lnTo>
                        <a:pt x="1110" y="358"/>
                      </a:lnTo>
                      <a:lnTo>
                        <a:pt x="1096" y="358"/>
                      </a:lnTo>
                      <a:lnTo>
                        <a:pt x="1083" y="372"/>
                      </a:lnTo>
                      <a:lnTo>
                        <a:pt x="1096" y="388"/>
                      </a:lnTo>
                      <a:lnTo>
                        <a:pt x="1083" y="401"/>
                      </a:lnTo>
                      <a:lnTo>
                        <a:pt x="1067" y="415"/>
                      </a:lnTo>
                      <a:lnTo>
                        <a:pt x="1067" y="430"/>
                      </a:lnTo>
                      <a:lnTo>
                        <a:pt x="1083" y="444"/>
                      </a:lnTo>
                      <a:lnTo>
                        <a:pt x="1067" y="459"/>
                      </a:lnTo>
                      <a:lnTo>
                        <a:pt x="1024" y="459"/>
                      </a:lnTo>
                      <a:lnTo>
                        <a:pt x="1024" y="444"/>
                      </a:lnTo>
                      <a:lnTo>
                        <a:pt x="1009" y="459"/>
                      </a:lnTo>
                      <a:lnTo>
                        <a:pt x="1009" y="473"/>
                      </a:lnTo>
                      <a:lnTo>
                        <a:pt x="1009" y="502"/>
                      </a:lnTo>
                      <a:lnTo>
                        <a:pt x="1009" y="516"/>
                      </a:lnTo>
                      <a:lnTo>
                        <a:pt x="995" y="545"/>
                      </a:lnTo>
                      <a:lnTo>
                        <a:pt x="995" y="516"/>
                      </a:lnTo>
                      <a:lnTo>
                        <a:pt x="995" y="488"/>
                      </a:lnTo>
                      <a:lnTo>
                        <a:pt x="995" y="473"/>
                      </a:lnTo>
                      <a:lnTo>
                        <a:pt x="982" y="488"/>
                      </a:lnTo>
                      <a:lnTo>
                        <a:pt x="966" y="488"/>
                      </a:lnTo>
                      <a:lnTo>
                        <a:pt x="953" y="488"/>
                      </a:lnTo>
                      <a:lnTo>
                        <a:pt x="937" y="502"/>
                      </a:lnTo>
                      <a:lnTo>
                        <a:pt x="953" y="502"/>
                      </a:lnTo>
                      <a:lnTo>
                        <a:pt x="966" y="516"/>
                      </a:lnTo>
                      <a:lnTo>
                        <a:pt x="966" y="531"/>
                      </a:lnTo>
                      <a:lnTo>
                        <a:pt x="953" y="516"/>
                      </a:lnTo>
                      <a:lnTo>
                        <a:pt x="937" y="531"/>
                      </a:lnTo>
                      <a:lnTo>
                        <a:pt x="922" y="516"/>
                      </a:lnTo>
                      <a:lnTo>
                        <a:pt x="908" y="516"/>
                      </a:lnTo>
                      <a:lnTo>
                        <a:pt x="908" y="545"/>
                      </a:lnTo>
                      <a:lnTo>
                        <a:pt x="894" y="560"/>
                      </a:lnTo>
                      <a:lnTo>
                        <a:pt x="937" y="545"/>
                      </a:lnTo>
                      <a:lnTo>
                        <a:pt x="953" y="560"/>
                      </a:lnTo>
                      <a:lnTo>
                        <a:pt x="953" y="574"/>
                      </a:lnTo>
                      <a:lnTo>
                        <a:pt x="922" y="574"/>
                      </a:lnTo>
                      <a:lnTo>
                        <a:pt x="908" y="574"/>
                      </a:lnTo>
                      <a:lnTo>
                        <a:pt x="894" y="587"/>
                      </a:lnTo>
                      <a:lnTo>
                        <a:pt x="894" y="603"/>
                      </a:lnTo>
                      <a:lnTo>
                        <a:pt x="922" y="603"/>
                      </a:lnTo>
                      <a:lnTo>
                        <a:pt x="922" y="630"/>
                      </a:lnTo>
                      <a:lnTo>
                        <a:pt x="908" y="630"/>
                      </a:lnTo>
                      <a:lnTo>
                        <a:pt x="894" y="630"/>
                      </a:lnTo>
                      <a:lnTo>
                        <a:pt x="879" y="645"/>
                      </a:lnTo>
                      <a:lnTo>
                        <a:pt x="865" y="659"/>
                      </a:lnTo>
                      <a:lnTo>
                        <a:pt x="836" y="645"/>
                      </a:lnTo>
                      <a:lnTo>
                        <a:pt x="823" y="659"/>
                      </a:lnTo>
                      <a:lnTo>
                        <a:pt x="823" y="675"/>
                      </a:lnTo>
                      <a:lnTo>
                        <a:pt x="823" y="688"/>
                      </a:lnTo>
                      <a:lnTo>
                        <a:pt x="807" y="688"/>
                      </a:lnTo>
                      <a:lnTo>
                        <a:pt x="794" y="704"/>
                      </a:lnTo>
                      <a:lnTo>
                        <a:pt x="807" y="717"/>
                      </a:lnTo>
                      <a:lnTo>
                        <a:pt x="794" y="733"/>
                      </a:lnTo>
                      <a:lnTo>
                        <a:pt x="765" y="733"/>
                      </a:lnTo>
                      <a:lnTo>
                        <a:pt x="778" y="748"/>
                      </a:lnTo>
                      <a:lnTo>
                        <a:pt x="794" y="762"/>
                      </a:lnTo>
                      <a:lnTo>
                        <a:pt x="807" y="748"/>
                      </a:lnTo>
                      <a:lnTo>
                        <a:pt x="807" y="775"/>
                      </a:lnTo>
                      <a:lnTo>
                        <a:pt x="778" y="775"/>
                      </a:lnTo>
                      <a:lnTo>
                        <a:pt x="765" y="775"/>
                      </a:lnTo>
                      <a:lnTo>
                        <a:pt x="765" y="789"/>
                      </a:lnTo>
                      <a:lnTo>
                        <a:pt x="778" y="803"/>
                      </a:lnTo>
                      <a:lnTo>
                        <a:pt x="765" y="818"/>
                      </a:lnTo>
                      <a:lnTo>
                        <a:pt x="749" y="818"/>
                      </a:lnTo>
                      <a:lnTo>
                        <a:pt x="735" y="832"/>
                      </a:lnTo>
                      <a:lnTo>
                        <a:pt x="720" y="847"/>
                      </a:lnTo>
                      <a:lnTo>
                        <a:pt x="735" y="861"/>
                      </a:lnTo>
                      <a:lnTo>
                        <a:pt x="735" y="874"/>
                      </a:lnTo>
                      <a:lnTo>
                        <a:pt x="720" y="890"/>
                      </a:lnTo>
                      <a:lnTo>
                        <a:pt x="706" y="874"/>
                      </a:lnTo>
                      <a:lnTo>
                        <a:pt x="706" y="861"/>
                      </a:lnTo>
                      <a:lnTo>
                        <a:pt x="693" y="890"/>
                      </a:lnTo>
                      <a:lnTo>
                        <a:pt x="693" y="903"/>
                      </a:lnTo>
                      <a:lnTo>
                        <a:pt x="706" y="903"/>
                      </a:lnTo>
                      <a:lnTo>
                        <a:pt x="706" y="932"/>
                      </a:lnTo>
                      <a:lnTo>
                        <a:pt x="693" y="948"/>
                      </a:lnTo>
                      <a:lnTo>
                        <a:pt x="677" y="948"/>
                      </a:lnTo>
                      <a:lnTo>
                        <a:pt x="677" y="977"/>
                      </a:lnTo>
                      <a:lnTo>
                        <a:pt x="664" y="991"/>
                      </a:lnTo>
                      <a:lnTo>
                        <a:pt x="648" y="991"/>
                      </a:lnTo>
                      <a:lnTo>
                        <a:pt x="648" y="1004"/>
                      </a:lnTo>
                      <a:lnTo>
                        <a:pt x="664" y="1004"/>
                      </a:lnTo>
                      <a:lnTo>
                        <a:pt x="664" y="1020"/>
                      </a:lnTo>
                      <a:lnTo>
                        <a:pt x="664" y="1033"/>
                      </a:lnTo>
                      <a:lnTo>
                        <a:pt x="648" y="1047"/>
                      </a:lnTo>
                      <a:lnTo>
                        <a:pt x="619" y="1033"/>
                      </a:lnTo>
                      <a:lnTo>
                        <a:pt x="619" y="1020"/>
                      </a:lnTo>
                      <a:lnTo>
                        <a:pt x="605" y="1004"/>
                      </a:lnTo>
                      <a:lnTo>
                        <a:pt x="590" y="1020"/>
                      </a:lnTo>
                      <a:lnTo>
                        <a:pt x="576" y="1033"/>
                      </a:lnTo>
                      <a:lnTo>
                        <a:pt x="563" y="1033"/>
                      </a:lnTo>
                      <a:lnTo>
                        <a:pt x="547" y="1033"/>
                      </a:lnTo>
                      <a:lnTo>
                        <a:pt x="547" y="1062"/>
                      </a:lnTo>
                      <a:lnTo>
                        <a:pt x="532" y="1076"/>
                      </a:lnTo>
                      <a:lnTo>
                        <a:pt x="520" y="1105"/>
                      </a:lnTo>
                      <a:lnTo>
                        <a:pt x="505" y="1105"/>
                      </a:lnTo>
                      <a:lnTo>
                        <a:pt x="491" y="1105"/>
                      </a:lnTo>
                      <a:lnTo>
                        <a:pt x="491" y="1121"/>
                      </a:lnTo>
                      <a:lnTo>
                        <a:pt x="491" y="1148"/>
                      </a:lnTo>
                      <a:lnTo>
                        <a:pt x="476" y="1134"/>
                      </a:lnTo>
                      <a:lnTo>
                        <a:pt x="462" y="1148"/>
                      </a:lnTo>
                      <a:lnTo>
                        <a:pt x="446" y="1163"/>
                      </a:lnTo>
                      <a:lnTo>
                        <a:pt x="433" y="1148"/>
                      </a:lnTo>
                      <a:lnTo>
                        <a:pt x="419" y="1163"/>
                      </a:lnTo>
                      <a:lnTo>
                        <a:pt x="404" y="1177"/>
                      </a:lnTo>
                      <a:lnTo>
                        <a:pt x="390" y="1177"/>
                      </a:lnTo>
                      <a:lnTo>
                        <a:pt x="390" y="1206"/>
                      </a:lnTo>
                      <a:lnTo>
                        <a:pt x="375" y="1190"/>
                      </a:lnTo>
                      <a:lnTo>
                        <a:pt x="361" y="1190"/>
                      </a:lnTo>
                      <a:lnTo>
                        <a:pt x="375" y="1206"/>
                      </a:lnTo>
                      <a:lnTo>
                        <a:pt x="375" y="1220"/>
                      </a:lnTo>
                      <a:lnTo>
                        <a:pt x="361" y="1220"/>
                      </a:lnTo>
                      <a:lnTo>
                        <a:pt x="346" y="1206"/>
                      </a:lnTo>
                      <a:lnTo>
                        <a:pt x="332" y="1220"/>
                      </a:lnTo>
                      <a:lnTo>
                        <a:pt x="317" y="1220"/>
                      </a:lnTo>
                      <a:lnTo>
                        <a:pt x="303" y="1220"/>
                      </a:lnTo>
                      <a:lnTo>
                        <a:pt x="287" y="1220"/>
                      </a:lnTo>
                      <a:lnTo>
                        <a:pt x="287" y="1233"/>
                      </a:lnTo>
                      <a:lnTo>
                        <a:pt x="303" y="1262"/>
                      </a:lnTo>
                      <a:lnTo>
                        <a:pt x="287" y="1262"/>
                      </a:lnTo>
                      <a:lnTo>
                        <a:pt x="274" y="1262"/>
                      </a:lnTo>
                      <a:lnTo>
                        <a:pt x="245" y="1249"/>
                      </a:lnTo>
                      <a:lnTo>
                        <a:pt x="231" y="1249"/>
                      </a:lnTo>
                      <a:lnTo>
                        <a:pt x="218" y="1262"/>
                      </a:lnTo>
                      <a:lnTo>
                        <a:pt x="231" y="1278"/>
                      </a:lnTo>
                      <a:lnTo>
                        <a:pt x="231" y="1291"/>
                      </a:lnTo>
                      <a:lnTo>
                        <a:pt x="218" y="1291"/>
                      </a:lnTo>
                      <a:lnTo>
                        <a:pt x="187" y="1291"/>
                      </a:lnTo>
                      <a:lnTo>
                        <a:pt x="173" y="1320"/>
                      </a:lnTo>
                      <a:lnTo>
                        <a:pt x="173" y="1291"/>
                      </a:lnTo>
                      <a:lnTo>
                        <a:pt x="157" y="1291"/>
                      </a:lnTo>
                      <a:lnTo>
                        <a:pt x="144" y="1307"/>
                      </a:lnTo>
                      <a:lnTo>
                        <a:pt x="130" y="1291"/>
                      </a:lnTo>
                      <a:lnTo>
                        <a:pt x="115" y="1291"/>
                      </a:lnTo>
                      <a:lnTo>
                        <a:pt x="101" y="1291"/>
                      </a:lnTo>
                      <a:lnTo>
                        <a:pt x="101" y="1307"/>
                      </a:lnTo>
                      <a:lnTo>
                        <a:pt x="101" y="1320"/>
                      </a:lnTo>
                      <a:lnTo>
                        <a:pt x="115" y="1334"/>
                      </a:lnTo>
                      <a:lnTo>
                        <a:pt x="130" y="1334"/>
                      </a:lnTo>
                      <a:lnTo>
                        <a:pt x="130" y="1349"/>
                      </a:lnTo>
                      <a:lnTo>
                        <a:pt x="115" y="1349"/>
                      </a:lnTo>
                      <a:lnTo>
                        <a:pt x="101" y="1363"/>
                      </a:lnTo>
                      <a:lnTo>
                        <a:pt x="72" y="1363"/>
                      </a:lnTo>
                      <a:lnTo>
                        <a:pt x="72" y="1379"/>
                      </a:lnTo>
                      <a:lnTo>
                        <a:pt x="86" y="1392"/>
                      </a:lnTo>
                      <a:lnTo>
                        <a:pt x="86" y="1408"/>
                      </a:lnTo>
                      <a:lnTo>
                        <a:pt x="57" y="1392"/>
                      </a:lnTo>
                      <a:lnTo>
                        <a:pt x="57" y="1408"/>
                      </a:lnTo>
                      <a:lnTo>
                        <a:pt x="57" y="1421"/>
                      </a:lnTo>
                      <a:lnTo>
                        <a:pt x="72" y="1448"/>
                      </a:lnTo>
                      <a:lnTo>
                        <a:pt x="101" y="1448"/>
                      </a:lnTo>
                      <a:lnTo>
                        <a:pt x="101" y="1464"/>
                      </a:lnTo>
                      <a:lnTo>
                        <a:pt x="86" y="1464"/>
                      </a:lnTo>
                      <a:lnTo>
                        <a:pt x="57" y="1448"/>
                      </a:lnTo>
                      <a:lnTo>
                        <a:pt x="57" y="1464"/>
                      </a:lnTo>
                      <a:lnTo>
                        <a:pt x="57" y="1477"/>
                      </a:lnTo>
                      <a:lnTo>
                        <a:pt x="72" y="1507"/>
                      </a:lnTo>
                      <a:lnTo>
                        <a:pt x="86" y="1522"/>
                      </a:lnTo>
                      <a:lnTo>
                        <a:pt x="72" y="1536"/>
                      </a:lnTo>
                      <a:lnTo>
                        <a:pt x="57" y="1522"/>
                      </a:lnTo>
                      <a:lnTo>
                        <a:pt x="43" y="1536"/>
                      </a:lnTo>
                      <a:lnTo>
                        <a:pt x="43" y="1551"/>
                      </a:lnTo>
                      <a:lnTo>
                        <a:pt x="72" y="1565"/>
                      </a:lnTo>
                      <a:lnTo>
                        <a:pt x="57" y="1565"/>
                      </a:lnTo>
                      <a:lnTo>
                        <a:pt x="43" y="1565"/>
                      </a:lnTo>
                      <a:lnTo>
                        <a:pt x="43" y="1580"/>
                      </a:lnTo>
                      <a:lnTo>
                        <a:pt x="57" y="1594"/>
                      </a:lnTo>
                      <a:lnTo>
                        <a:pt x="72" y="1607"/>
                      </a:lnTo>
                      <a:lnTo>
                        <a:pt x="101" y="1607"/>
                      </a:lnTo>
                      <a:lnTo>
                        <a:pt x="130" y="1594"/>
                      </a:lnTo>
                      <a:lnTo>
                        <a:pt x="101" y="1623"/>
                      </a:lnTo>
                      <a:lnTo>
                        <a:pt x="86" y="1636"/>
                      </a:lnTo>
                      <a:lnTo>
                        <a:pt x="72" y="1652"/>
                      </a:lnTo>
                      <a:lnTo>
                        <a:pt x="101" y="1681"/>
                      </a:lnTo>
                      <a:lnTo>
                        <a:pt x="86" y="1681"/>
                      </a:lnTo>
                      <a:lnTo>
                        <a:pt x="72" y="1681"/>
                      </a:lnTo>
                      <a:lnTo>
                        <a:pt x="57" y="1693"/>
                      </a:lnTo>
                      <a:lnTo>
                        <a:pt x="43" y="1681"/>
                      </a:lnTo>
                      <a:lnTo>
                        <a:pt x="29" y="1681"/>
                      </a:lnTo>
                      <a:lnTo>
                        <a:pt x="14" y="1708"/>
                      </a:lnTo>
                      <a:lnTo>
                        <a:pt x="14" y="1722"/>
                      </a:lnTo>
                      <a:lnTo>
                        <a:pt x="0" y="1751"/>
                      </a:lnTo>
                      <a:lnTo>
                        <a:pt x="14" y="1766"/>
                      </a:lnTo>
                      <a:lnTo>
                        <a:pt x="43" y="1722"/>
                      </a:lnTo>
                      <a:lnTo>
                        <a:pt x="72" y="1722"/>
                      </a:lnTo>
                      <a:lnTo>
                        <a:pt x="72" y="1737"/>
                      </a:lnTo>
                      <a:lnTo>
                        <a:pt x="72" y="1766"/>
                      </a:lnTo>
                      <a:lnTo>
                        <a:pt x="57" y="1766"/>
                      </a:lnTo>
                      <a:lnTo>
                        <a:pt x="57" y="1795"/>
                      </a:lnTo>
                      <a:lnTo>
                        <a:pt x="43" y="1809"/>
                      </a:lnTo>
                      <a:lnTo>
                        <a:pt x="43" y="1795"/>
                      </a:lnTo>
                      <a:lnTo>
                        <a:pt x="29" y="1809"/>
                      </a:lnTo>
                      <a:lnTo>
                        <a:pt x="29" y="1823"/>
                      </a:lnTo>
                      <a:lnTo>
                        <a:pt x="29" y="1852"/>
                      </a:lnTo>
                      <a:lnTo>
                        <a:pt x="29" y="1867"/>
                      </a:lnTo>
                      <a:lnTo>
                        <a:pt x="57" y="1894"/>
                      </a:lnTo>
                      <a:lnTo>
                        <a:pt x="101" y="1910"/>
                      </a:lnTo>
                      <a:lnTo>
                        <a:pt x="72" y="1937"/>
                      </a:lnTo>
                      <a:lnTo>
                        <a:pt x="101" y="1953"/>
                      </a:lnTo>
                      <a:lnTo>
                        <a:pt x="115" y="1937"/>
                      </a:lnTo>
                      <a:lnTo>
                        <a:pt x="115" y="1966"/>
                      </a:lnTo>
                      <a:lnTo>
                        <a:pt x="157" y="1966"/>
                      </a:lnTo>
                      <a:lnTo>
                        <a:pt x="187" y="1966"/>
                      </a:lnTo>
                      <a:lnTo>
                        <a:pt x="218" y="1953"/>
                      </a:lnTo>
                      <a:lnTo>
                        <a:pt x="218" y="1966"/>
                      </a:lnTo>
                      <a:lnTo>
                        <a:pt x="245" y="1953"/>
                      </a:lnTo>
                      <a:lnTo>
                        <a:pt x="260" y="1937"/>
                      </a:lnTo>
                      <a:lnTo>
                        <a:pt x="274" y="1910"/>
                      </a:lnTo>
                      <a:lnTo>
                        <a:pt x="287" y="1894"/>
                      </a:lnTo>
                      <a:lnTo>
                        <a:pt x="332" y="1881"/>
                      </a:lnTo>
                      <a:lnTo>
                        <a:pt x="332" y="1867"/>
                      </a:lnTo>
                      <a:lnTo>
                        <a:pt x="346" y="1852"/>
                      </a:lnTo>
                      <a:lnTo>
                        <a:pt x="375" y="1852"/>
                      </a:lnTo>
                      <a:lnTo>
                        <a:pt x="375" y="1867"/>
                      </a:lnTo>
                      <a:lnTo>
                        <a:pt x="390" y="1881"/>
                      </a:lnTo>
                      <a:lnTo>
                        <a:pt x="419" y="1867"/>
                      </a:lnTo>
                      <a:lnTo>
                        <a:pt x="419" y="1838"/>
                      </a:lnTo>
                      <a:lnTo>
                        <a:pt x="446" y="1809"/>
                      </a:lnTo>
                      <a:lnTo>
                        <a:pt x="446" y="1780"/>
                      </a:lnTo>
                      <a:lnTo>
                        <a:pt x="433" y="1766"/>
                      </a:lnTo>
                      <a:lnTo>
                        <a:pt x="462" y="1737"/>
                      </a:lnTo>
                      <a:lnTo>
                        <a:pt x="476" y="1722"/>
                      </a:lnTo>
                      <a:lnTo>
                        <a:pt x="491" y="1708"/>
                      </a:lnTo>
                      <a:lnTo>
                        <a:pt x="505" y="1708"/>
                      </a:lnTo>
                      <a:lnTo>
                        <a:pt x="505" y="1737"/>
                      </a:lnTo>
                      <a:lnTo>
                        <a:pt x="491" y="1751"/>
                      </a:lnTo>
                      <a:lnTo>
                        <a:pt x="476" y="1751"/>
                      </a:lnTo>
                      <a:lnTo>
                        <a:pt x="476" y="1780"/>
                      </a:lnTo>
                      <a:lnTo>
                        <a:pt x="491" y="1780"/>
                      </a:lnTo>
                      <a:lnTo>
                        <a:pt x="532" y="1809"/>
                      </a:lnTo>
                      <a:lnTo>
                        <a:pt x="507" y="1838"/>
                      </a:lnTo>
                      <a:lnTo>
                        <a:pt x="507" y="1838"/>
                      </a:lnTo>
                      <a:lnTo>
                        <a:pt x="507" y="1838"/>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33" name="Freeform 139"/>
                <p:cNvSpPr>
                  <a:spLocks/>
                </p:cNvSpPr>
                <p:nvPr>
                  <p:custDataLst>
                    <p:tags r:id="rId4"/>
                  </p:custDataLst>
                </p:nvPr>
              </p:nvSpPr>
              <p:spPr bwMode="auto">
                <a:xfrm>
                  <a:off x="1700905" y="4337029"/>
                  <a:ext cx="1896930" cy="1331913"/>
                </a:xfrm>
                <a:custGeom>
                  <a:avLst/>
                  <a:gdLst/>
                  <a:ahLst/>
                  <a:cxnLst>
                    <a:cxn ang="0">
                      <a:pos x="642" y="175"/>
                    </a:cxn>
                    <a:cxn ang="0">
                      <a:pos x="579" y="153"/>
                    </a:cxn>
                    <a:cxn ang="0">
                      <a:pos x="503" y="125"/>
                    </a:cxn>
                    <a:cxn ang="0">
                      <a:pos x="451" y="105"/>
                    </a:cxn>
                    <a:cxn ang="0">
                      <a:pos x="375" y="77"/>
                    </a:cxn>
                    <a:cxn ang="0">
                      <a:pos x="311" y="57"/>
                    </a:cxn>
                    <a:cxn ang="0">
                      <a:pos x="246" y="19"/>
                    </a:cxn>
                    <a:cxn ang="0">
                      <a:pos x="203" y="0"/>
                    </a:cxn>
                    <a:cxn ang="0">
                      <a:pos x="182" y="19"/>
                    </a:cxn>
                    <a:cxn ang="0">
                      <a:pos x="139" y="19"/>
                    </a:cxn>
                    <a:cxn ang="0">
                      <a:pos x="87" y="28"/>
                    </a:cxn>
                    <a:cxn ang="0">
                      <a:pos x="96" y="57"/>
                    </a:cxn>
                    <a:cxn ang="0">
                      <a:pos x="87" y="67"/>
                    </a:cxn>
                    <a:cxn ang="0">
                      <a:pos x="87" y="105"/>
                    </a:cxn>
                    <a:cxn ang="0">
                      <a:pos x="65" y="125"/>
                    </a:cxn>
                    <a:cxn ang="0">
                      <a:pos x="118" y="144"/>
                    </a:cxn>
                    <a:cxn ang="0">
                      <a:pos x="139" y="175"/>
                    </a:cxn>
                    <a:cxn ang="0">
                      <a:pos x="193" y="194"/>
                    </a:cxn>
                    <a:cxn ang="0">
                      <a:pos x="225" y="202"/>
                    </a:cxn>
                    <a:cxn ang="0">
                      <a:pos x="246" y="232"/>
                    </a:cxn>
                    <a:cxn ang="0">
                      <a:pos x="257" y="260"/>
                    </a:cxn>
                    <a:cxn ang="0">
                      <a:pos x="225" y="280"/>
                    </a:cxn>
                    <a:cxn ang="0">
                      <a:pos x="193" y="308"/>
                    </a:cxn>
                    <a:cxn ang="0">
                      <a:pos x="171" y="357"/>
                    </a:cxn>
                    <a:cxn ang="0">
                      <a:pos x="150" y="386"/>
                    </a:cxn>
                    <a:cxn ang="0">
                      <a:pos x="108" y="433"/>
                    </a:cxn>
                    <a:cxn ang="0">
                      <a:pos x="96" y="473"/>
                    </a:cxn>
                    <a:cxn ang="0">
                      <a:pos x="75" y="521"/>
                    </a:cxn>
                    <a:cxn ang="0">
                      <a:pos x="53" y="560"/>
                    </a:cxn>
                    <a:cxn ang="0">
                      <a:pos x="44" y="588"/>
                    </a:cxn>
                    <a:cxn ang="0">
                      <a:pos x="10" y="608"/>
                    </a:cxn>
                    <a:cxn ang="0">
                      <a:pos x="22" y="655"/>
                    </a:cxn>
                    <a:cxn ang="0">
                      <a:pos x="75" y="705"/>
                    </a:cxn>
                    <a:cxn ang="0">
                      <a:pos x="96" y="733"/>
                    </a:cxn>
                    <a:cxn ang="0">
                      <a:pos x="75" y="792"/>
                    </a:cxn>
                    <a:cxn ang="0">
                      <a:pos x="128" y="819"/>
                    </a:cxn>
                    <a:cxn ang="0">
                      <a:pos x="193" y="792"/>
                    </a:cxn>
                    <a:cxn ang="0">
                      <a:pos x="278" y="792"/>
                    </a:cxn>
                    <a:cxn ang="0">
                      <a:pos x="375" y="819"/>
                    </a:cxn>
                    <a:cxn ang="0">
                      <a:pos x="451" y="828"/>
                    </a:cxn>
                    <a:cxn ang="0">
                      <a:pos x="482" y="819"/>
                    </a:cxn>
                    <a:cxn ang="0">
                      <a:pos x="536" y="781"/>
                    </a:cxn>
                    <a:cxn ang="0">
                      <a:pos x="621" y="772"/>
                    </a:cxn>
                    <a:cxn ang="0">
                      <a:pos x="654" y="723"/>
                    </a:cxn>
                    <a:cxn ang="0">
                      <a:pos x="717" y="684"/>
                    </a:cxn>
                    <a:cxn ang="0">
                      <a:pos x="707" y="627"/>
                    </a:cxn>
                    <a:cxn ang="0">
                      <a:pos x="770" y="560"/>
                    </a:cxn>
                    <a:cxn ang="0">
                      <a:pos x="847" y="511"/>
                    </a:cxn>
                    <a:cxn ang="0">
                      <a:pos x="857" y="492"/>
                    </a:cxn>
                    <a:cxn ang="0">
                      <a:pos x="942" y="482"/>
                    </a:cxn>
                    <a:cxn ang="0">
                      <a:pos x="1007" y="473"/>
                    </a:cxn>
                    <a:cxn ang="0">
                      <a:pos x="1071" y="453"/>
                    </a:cxn>
                    <a:cxn ang="0">
                      <a:pos x="1103" y="405"/>
                    </a:cxn>
                    <a:cxn ang="0">
                      <a:pos x="1071" y="376"/>
                    </a:cxn>
                    <a:cxn ang="0">
                      <a:pos x="1006" y="378"/>
                    </a:cxn>
                    <a:cxn ang="0">
                      <a:pos x="953" y="347"/>
                    </a:cxn>
                    <a:cxn ang="0">
                      <a:pos x="910" y="319"/>
                    </a:cxn>
                    <a:cxn ang="0">
                      <a:pos x="847" y="300"/>
                    </a:cxn>
                    <a:cxn ang="0">
                      <a:pos x="770" y="251"/>
                    </a:cxn>
                    <a:cxn ang="0">
                      <a:pos x="727" y="221"/>
                    </a:cxn>
                    <a:cxn ang="0">
                      <a:pos x="706" y="193"/>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35" name="Freeform 140"/>
                <p:cNvSpPr>
                  <a:spLocks/>
                </p:cNvSpPr>
                <p:nvPr>
                  <p:custDataLst>
                    <p:tags r:id="rId5"/>
                  </p:custDataLst>
                </p:nvPr>
              </p:nvSpPr>
              <p:spPr bwMode="auto">
                <a:xfrm>
                  <a:off x="1444655" y="4552929"/>
                  <a:ext cx="717154" cy="839788"/>
                </a:xfrm>
                <a:custGeom>
                  <a:avLst/>
                  <a:gdLst/>
                  <a:ahLst/>
                  <a:cxnLst>
                    <a:cxn ang="0">
                      <a:pos x="159" y="790"/>
                    </a:cxn>
                    <a:cxn ang="0">
                      <a:pos x="130" y="774"/>
                    </a:cxn>
                    <a:cxn ang="0">
                      <a:pos x="73" y="747"/>
                    </a:cxn>
                    <a:cxn ang="0">
                      <a:pos x="42" y="718"/>
                    </a:cxn>
                    <a:cxn ang="0">
                      <a:pos x="0" y="731"/>
                    </a:cxn>
                    <a:cxn ang="0">
                      <a:pos x="29" y="675"/>
                    </a:cxn>
                    <a:cxn ang="0">
                      <a:pos x="58" y="646"/>
                    </a:cxn>
                    <a:cxn ang="0">
                      <a:pos x="58" y="588"/>
                    </a:cxn>
                    <a:cxn ang="0">
                      <a:pos x="87" y="545"/>
                    </a:cxn>
                    <a:cxn ang="0">
                      <a:pos x="101" y="487"/>
                    </a:cxn>
                    <a:cxn ang="0">
                      <a:pos x="42" y="474"/>
                    </a:cxn>
                    <a:cxn ang="0">
                      <a:pos x="58" y="431"/>
                    </a:cxn>
                    <a:cxn ang="0">
                      <a:pos x="73" y="388"/>
                    </a:cxn>
                    <a:cxn ang="0">
                      <a:pos x="114" y="359"/>
                    </a:cxn>
                    <a:cxn ang="0">
                      <a:pos x="159" y="316"/>
                    </a:cxn>
                    <a:cxn ang="0">
                      <a:pos x="188" y="272"/>
                    </a:cxn>
                    <a:cxn ang="0">
                      <a:pos x="217" y="200"/>
                    </a:cxn>
                    <a:cxn ang="0">
                      <a:pos x="246" y="144"/>
                    </a:cxn>
                    <a:cxn ang="0">
                      <a:pos x="273" y="86"/>
                    </a:cxn>
                    <a:cxn ang="0">
                      <a:pos x="289" y="43"/>
                    </a:cxn>
                    <a:cxn ang="0">
                      <a:pos x="318" y="14"/>
                    </a:cxn>
                    <a:cxn ang="0">
                      <a:pos x="360" y="14"/>
                    </a:cxn>
                    <a:cxn ang="0">
                      <a:pos x="374" y="43"/>
                    </a:cxn>
                    <a:cxn ang="0">
                      <a:pos x="403" y="57"/>
                    </a:cxn>
                    <a:cxn ang="0">
                      <a:pos x="448" y="72"/>
                    </a:cxn>
                    <a:cxn ang="0">
                      <a:pos x="475" y="86"/>
                    </a:cxn>
                    <a:cxn ang="0">
                      <a:pos x="506" y="99"/>
                    </a:cxn>
                    <a:cxn ang="0">
                      <a:pos x="547" y="115"/>
                    </a:cxn>
                    <a:cxn ang="0">
                      <a:pos x="535" y="157"/>
                    </a:cxn>
                    <a:cxn ang="0">
                      <a:pos x="562" y="187"/>
                    </a:cxn>
                    <a:cxn ang="0">
                      <a:pos x="535" y="200"/>
                    </a:cxn>
                    <a:cxn ang="0">
                      <a:pos x="506" y="216"/>
                    </a:cxn>
                    <a:cxn ang="0">
                      <a:pos x="475" y="231"/>
                    </a:cxn>
                    <a:cxn ang="0">
                      <a:pos x="448" y="272"/>
                    </a:cxn>
                    <a:cxn ang="0">
                      <a:pos x="432" y="316"/>
                    </a:cxn>
                    <a:cxn ang="0">
                      <a:pos x="432" y="359"/>
                    </a:cxn>
                    <a:cxn ang="0">
                      <a:pos x="403" y="373"/>
                    </a:cxn>
                    <a:cxn ang="0">
                      <a:pos x="360" y="431"/>
                    </a:cxn>
                    <a:cxn ang="0">
                      <a:pos x="318" y="431"/>
                    </a:cxn>
                    <a:cxn ang="0">
                      <a:pos x="318" y="487"/>
                    </a:cxn>
                    <a:cxn ang="0">
                      <a:pos x="331" y="532"/>
                    </a:cxn>
                    <a:cxn ang="0">
                      <a:pos x="302" y="574"/>
                    </a:cxn>
                    <a:cxn ang="0">
                      <a:pos x="273" y="604"/>
                    </a:cxn>
                    <a:cxn ang="0">
                      <a:pos x="289" y="633"/>
                    </a:cxn>
                    <a:cxn ang="0">
                      <a:pos x="273" y="660"/>
                    </a:cxn>
                    <a:cxn ang="0">
                      <a:pos x="230" y="675"/>
                    </a:cxn>
                    <a:cxn ang="0">
                      <a:pos x="217" y="702"/>
                    </a:cxn>
                    <a:cxn ang="0">
                      <a:pos x="203" y="774"/>
                    </a:cxn>
                    <a:cxn ang="0">
                      <a:pos x="217" y="774"/>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48" name="Freeform 141"/>
                <p:cNvSpPr>
                  <a:spLocks/>
                </p:cNvSpPr>
                <p:nvPr>
                  <p:custDataLst>
                    <p:tags r:id="rId6"/>
                  </p:custDataLst>
                </p:nvPr>
              </p:nvSpPr>
              <p:spPr bwMode="auto">
                <a:xfrm>
                  <a:off x="3358784" y="5349854"/>
                  <a:ext cx="166819" cy="92075"/>
                </a:xfrm>
                <a:custGeom>
                  <a:avLst/>
                  <a:gdLst/>
                  <a:ahLst/>
                  <a:cxnLst>
                    <a:cxn ang="0">
                      <a:pos x="72" y="87"/>
                    </a:cxn>
                    <a:cxn ang="0">
                      <a:pos x="72" y="74"/>
                    </a:cxn>
                    <a:cxn ang="0">
                      <a:pos x="58" y="74"/>
                    </a:cxn>
                    <a:cxn ang="0">
                      <a:pos x="42" y="44"/>
                    </a:cxn>
                    <a:cxn ang="0">
                      <a:pos x="29" y="44"/>
                    </a:cxn>
                    <a:cxn ang="0">
                      <a:pos x="0" y="44"/>
                    </a:cxn>
                    <a:cxn ang="0">
                      <a:pos x="0" y="29"/>
                    </a:cxn>
                    <a:cxn ang="0">
                      <a:pos x="13" y="29"/>
                    </a:cxn>
                    <a:cxn ang="0">
                      <a:pos x="29" y="29"/>
                    </a:cxn>
                    <a:cxn ang="0">
                      <a:pos x="58" y="29"/>
                    </a:cxn>
                    <a:cxn ang="0">
                      <a:pos x="58" y="15"/>
                    </a:cxn>
                    <a:cxn ang="0">
                      <a:pos x="72" y="0"/>
                    </a:cxn>
                    <a:cxn ang="0">
                      <a:pos x="85" y="15"/>
                    </a:cxn>
                    <a:cxn ang="0">
                      <a:pos x="85" y="29"/>
                    </a:cxn>
                    <a:cxn ang="0">
                      <a:pos x="101" y="44"/>
                    </a:cxn>
                    <a:cxn ang="0">
                      <a:pos x="114" y="44"/>
                    </a:cxn>
                    <a:cxn ang="0">
                      <a:pos x="130" y="44"/>
                    </a:cxn>
                    <a:cxn ang="0">
                      <a:pos x="114" y="58"/>
                    </a:cxn>
                    <a:cxn ang="0">
                      <a:pos x="101" y="58"/>
                    </a:cxn>
                    <a:cxn ang="0">
                      <a:pos x="101" y="74"/>
                    </a:cxn>
                    <a:cxn ang="0">
                      <a:pos x="85" y="87"/>
                    </a:cxn>
                    <a:cxn ang="0">
                      <a:pos x="72" y="87"/>
                    </a:cxn>
                    <a:cxn ang="0">
                      <a:pos x="72" y="87"/>
                    </a:cxn>
                    <a:cxn ang="0">
                      <a:pos x="72" y="8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49" name="Freeform 142"/>
                <p:cNvSpPr>
                  <a:spLocks/>
                </p:cNvSpPr>
                <p:nvPr>
                  <p:custDataLst>
                    <p:tags r:id="rId7"/>
                  </p:custDataLst>
                </p:nvPr>
              </p:nvSpPr>
              <p:spPr bwMode="auto">
                <a:xfrm>
                  <a:off x="3597834" y="5349854"/>
                  <a:ext cx="77391" cy="49213"/>
                </a:xfrm>
                <a:custGeom>
                  <a:avLst/>
                  <a:gdLst/>
                  <a:ahLst/>
                  <a:cxnLst>
                    <a:cxn ang="0">
                      <a:pos x="45" y="44"/>
                    </a:cxn>
                    <a:cxn ang="0">
                      <a:pos x="29" y="29"/>
                    </a:cxn>
                    <a:cxn ang="0">
                      <a:pos x="15" y="29"/>
                    </a:cxn>
                    <a:cxn ang="0">
                      <a:pos x="0" y="15"/>
                    </a:cxn>
                    <a:cxn ang="0">
                      <a:pos x="0" y="0"/>
                    </a:cxn>
                    <a:cxn ang="0">
                      <a:pos x="15" y="0"/>
                    </a:cxn>
                    <a:cxn ang="0">
                      <a:pos x="29" y="15"/>
                    </a:cxn>
                    <a:cxn ang="0">
                      <a:pos x="45" y="15"/>
                    </a:cxn>
                    <a:cxn ang="0">
                      <a:pos x="58" y="15"/>
                    </a:cxn>
                    <a:cxn ang="0">
                      <a:pos x="58" y="29"/>
                    </a:cxn>
                    <a:cxn ang="0">
                      <a:pos x="58" y="44"/>
                    </a:cxn>
                    <a:cxn ang="0">
                      <a:pos x="45" y="44"/>
                    </a:cxn>
                    <a:cxn ang="0">
                      <a:pos x="45" y="44"/>
                    </a:cxn>
                    <a:cxn ang="0">
                      <a:pos x="45" y="44"/>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0" name="Freeform 143"/>
                <p:cNvSpPr>
                  <a:spLocks/>
                </p:cNvSpPr>
                <p:nvPr>
                  <p:custDataLst>
                    <p:tags r:id="rId8"/>
                  </p:custDataLst>
                </p:nvPr>
              </p:nvSpPr>
              <p:spPr bwMode="auto">
                <a:xfrm>
                  <a:off x="3118013" y="5441929"/>
                  <a:ext cx="75671" cy="46038"/>
                </a:xfrm>
                <a:custGeom>
                  <a:avLst/>
                  <a:gdLst/>
                  <a:ahLst/>
                  <a:cxnLst>
                    <a:cxn ang="0">
                      <a:pos x="29" y="29"/>
                    </a:cxn>
                    <a:cxn ang="0">
                      <a:pos x="42" y="29"/>
                    </a:cxn>
                    <a:cxn ang="0">
                      <a:pos x="42" y="14"/>
                    </a:cxn>
                    <a:cxn ang="0">
                      <a:pos x="58" y="0"/>
                    </a:cxn>
                    <a:cxn ang="0">
                      <a:pos x="42" y="0"/>
                    </a:cxn>
                    <a:cxn ang="0">
                      <a:pos x="29" y="0"/>
                    </a:cxn>
                    <a:cxn ang="0">
                      <a:pos x="29" y="14"/>
                    </a:cxn>
                    <a:cxn ang="0">
                      <a:pos x="0" y="14"/>
                    </a:cxn>
                    <a:cxn ang="0">
                      <a:pos x="0" y="29"/>
                    </a:cxn>
                    <a:cxn ang="0">
                      <a:pos x="0" y="43"/>
                    </a:cxn>
                    <a:cxn ang="0">
                      <a:pos x="29" y="29"/>
                    </a:cxn>
                    <a:cxn ang="0">
                      <a:pos x="29" y="29"/>
                    </a:cxn>
                    <a:cxn ang="0">
                      <a:pos x="29" y="29"/>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1" name="Freeform 144"/>
                <p:cNvSpPr>
                  <a:spLocks/>
                </p:cNvSpPr>
                <p:nvPr>
                  <p:custDataLst>
                    <p:tags r:id="rId9"/>
                  </p:custDataLst>
                </p:nvPr>
              </p:nvSpPr>
              <p:spPr bwMode="auto">
                <a:xfrm>
                  <a:off x="2381942" y="2571729"/>
                  <a:ext cx="679317" cy="536575"/>
                </a:xfrm>
                <a:custGeom>
                  <a:avLst/>
                  <a:gdLst/>
                  <a:ahLst/>
                  <a:cxnLst>
                    <a:cxn ang="0">
                      <a:pos x="519" y="244"/>
                    </a:cxn>
                    <a:cxn ang="0">
                      <a:pos x="504" y="273"/>
                    </a:cxn>
                    <a:cxn ang="0">
                      <a:pos x="490" y="331"/>
                    </a:cxn>
                    <a:cxn ang="0">
                      <a:pos x="477" y="374"/>
                    </a:cxn>
                    <a:cxn ang="0">
                      <a:pos x="477" y="417"/>
                    </a:cxn>
                    <a:cxn ang="0">
                      <a:pos x="448" y="446"/>
                    </a:cxn>
                    <a:cxn ang="0">
                      <a:pos x="419" y="475"/>
                    </a:cxn>
                    <a:cxn ang="0">
                      <a:pos x="347" y="475"/>
                    </a:cxn>
                    <a:cxn ang="0">
                      <a:pos x="273" y="475"/>
                    </a:cxn>
                    <a:cxn ang="0">
                      <a:pos x="244" y="475"/>
                    </a:cxn>
                    <a:cxn ang="0">
                      <a:pos x="215" y="504"/>
                    </a:cxn>
                    <a:cxn ang="0">
                      <a:pos x="159" y="504"/>
                    </a:cxn>
                    <a:cxn ang="0">
                      <a:pos x="101" y="488"/>
                    </a:cxn>
                    <a:cxn ang="0">
                      <a:pos x="71" y="475"/>
                    </a:cxn>
                    <a:cxn ang="0">
                      <a:pos x="71" y="475"/>
                    </a:cxn>
                    <a:cxn ang="0">
                      <a:pos x="44" y="461"/>
                    </a:cxn>
                    <a:cxn ang="0">
                      <a:pos x="44" y="432"/>
                    </a:cxn>
                    <a:cxn ang="0">
                      <a:pos x="58" y="432"/>
                    </a:cxn>
                    <a:cxn ang="0">
                      <a:pos x="13" y="432"/>
                    </a:cxn>
                    <a:cxn ang="0">
                      <a:pos x="29" y="387"/>
                    </a:cxn>
                    <a:cxn ang="0">
                      <a:pos x="71" y="387"/>
                    </a:cxn>
                    <a:cxn ang="0">
                      <a:pos x="13" y="374"/>
                    </a:cxn>
                    <a:cxn ang="0">
                      <a:pos x="44" y="345"/>
                    </a:cxn>
                    <a:cxn ang="0">
                      <a:pos x="114" y="331"/>
                    </a:cxn>
                    <a:cxn ang="0">
                      <a:pos x="174" y="345"/>
                    </a:cxn>
                    <a:cxn ang="0">
                      <a:pos x="159" y="331"/>
                    </a:cxn>
                    <a:cxn ang="0">
                      <a:pos x="101" y="331"/>
                    </a:cxn>
                    <a:cxn ang="0">
                      <a:pos x="143" y="289"/>
                    </a:cxn>
                    <a:cxn ang="0">
                      <a:pos x="215" y="259"/>
                    </a:cxn>
                    <a:cxn ang="0">
                      <a:pos x="174" y="244"/>
                    </a:cxn>
                    <a:cxn ang="0">
                      <a:pos x="143" y="230"/>
                    </a:cxn>
                    <a:cxn ang="0">
                      <a:pos x="143" y="174"/>
                    </a:cxn>
                    <a:cxn ang="0">
                      <a:pos x="188" y="143"/>
                    </a:cxn>
                    <a:cxn ang="0">
                      <a:pos x="188" y="130"/>
                    </a:cxn>
                    <a:cxn ang="0">
                      <a:pos x="188" y="102"/>
                    </a:cxn>
                    <a:cxn ang="0">
                      <a:pos x="244" y="87"/>
                    </a:cxn>
                    <a:cxn ang="0">
                      <a:pos x="289" y="130"/>
                    </a:cxn>
                    <a:cxn ang="0">
                      <a:pos x="331" y="116"/>
                    </a:cxn>
                    <a:cxn ang="0">
                      <a:pos x="374" y="87"/>
                    </a:cxn>
                    <a:cxn ang="0">
                      <a:pos x="318" y="58"/>
                    </a:cxn>
                    <a:cxn ang="0">
                      <a:pos x="390" y="29"/>
                    </a:cxn>
                    <a:cxn ang="0">
                      <a:pos x="419" y="15"/>
                    </a:cxn>
                    <a:cxn ang="0">
                      <a:pos x="477" y="15"/>
                    </a:cxn>
                    <a:cxn ang="0">
                      <a:pos x="504" y="0"/>
                    </a:cxn>
                    <a:cxn ang="0">
                      <a:pos x="519" y="44"/>
                    </a:cxn>
                    <a:cxn ang="0">
                      <a:pos x="504" y="58"/>
                    </a:cxn>
                    <a:cxn ang="0">
                      <a:pos x="448" y="71"/>
                    </a:cxn>
                    <a:cxn ang="0">
                      <a:pos x="419" y="116"/>
                    </a:cxn>
                    <a:cxn ang="0">
                      <a:pos x="390" y="116"/>
                    </a:cxn>
                    <a:cxn ang="0">
                      <a:pos x="403" y="159"/>
                    </a:cxn>
                    <a:cxn ang="0">
                      <a:pos x="448" y="174"/>
                    </a:cxn>
                    <a:cxn ang="0">
                      <a:pos x="504" y="188"/>
                    </a:cxn>
                    <a:cxn ang="0">
                      <a:pos x="533" y="244"/>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2" name="Freeform 145"/>
                <p:cNvSpPr>
                  <a:spLocks/>
                </p:cNvSpPr>
                <p:nvPr>
                  <p:custDataLst>
                    <p:tags r:id="rId10"/>
                  </p:custDataLst>
                </p:nvPr>
              </p:nvSpPr>
              <p:spPr bwMode="auto">
                <a:xfrm>
                  <a:off x="2856605" y="2614592"/>
                  <a:ext cx="313002" cy="225425"/>
                </a:xfrm>
                <a:custGeom>
                  <a:avLst/>
                  <a:gdLst/>
                  <a:ahLst/>
                  <a:cxnLst>
                    <a:cxn ang="0">
                      <a:pos x="130" y="14"/>
                    </a:cxn>
                    <a:cxn ang="0">
                      <a:pos x="115" y="14"/>
                    </a:cxn>
                    <a:cxn ang="0">
                      <a:pos x="85" y="14"/>
                    </a:cxn>
                    <a:cxn ang="0">
                      <a:pos x="72" y="29"/>
                    </a:cxn>
                    <a:cxn ang="0">
                      <a:pos x="58" y="43"/>
                    </a:cxn>
                    <a:cxn ang="0">
                      <a:pos x="58" y="58"/>
                    </a:cxn>
                    <a:cxn ang="0">
                      <a:pos x="43" y="72"/>
                    </a:cxn>
                    <a:cxn ang="0">
                      <a:pos x="27" y="58"/>
                    </a:cxn>
                    <a:cxn ang="0">
                      <a:pos x="14" y="58"/>
                    </a:cxn>
                    <a:cxn ang="0">
                      <a:pos x="14" y="72"/>
                    </a:cxn>
                    <a:cxn ang="0">
                      <a:pos x="0" y="87"/>
                    </a:cxn>
                    <a:cxn ang="0">
                      <a:pos x="14" y="101"/>
                    </a:cxn>
                    <a:cxn ang="0">
                      <a:pos x="27" y="115"/>
                    </a:cxn>
                    <a:cxn ang="0">
                      <a:pos x="43" y="130"/>
                    </a:cxn>
                    <a:cxn ang="0">
                      <a:pos x="58" y="144"/>
                    </a:cxn>
                    <a:cxn ang="0">
                      <a:pos x="72" y="130"/>
                    </a:cxn>
                    <a:cxn ang="0">
                      <a:pos x="85" y="130"/>
                    </a:cxn>
                    <a:cxn ang="0">
                      <a:pos x="101" y="130"/>
                    </a:cxn>
                    <a:cxn ang="0">
                      <a:pos x="130" y="144"/>
                    </a:cxn>
                    <a:cxn ang="0">
                      <a:pos x="130" y="159"/>
                    </a:cxn>
                    <a:cxn ang="0">
                      <a:pos x="144" y="173"/>
                    </a:cxn>
                    <a:cxn ang="0">
                      <a:pos x="159" y="202"/>
                    </a:cxn>
                    <a:cxn ang="0">
                      <a:pos x="173" y="188"/>
                    </a:cxn>
                    <a:cxn ang="0">
                      <a:pos x="186" y="173"/>
                    </a:cxn>
                    <a:cxn ang="0">
                      <a:pos x="202" y="173"/>
                    </a:cxn>
                    <a:cxn ang="0">
                      <a:pos x="215" y="173"/>
                    </a:cxn>
                    <a:cxn ang="0">
                      <a:pos x="215" y="144"/>
                    </a:cxn>
                    <a:cxn ang="0">
                      <a:pos x="231" y="130"/>
                    </a:cxn>
                    <a:cxn ang="0">
                      <a:pos x="231" y="144"/>
                    </a:cxn>
                    <a:cxn ang="0">
                      <a:pos x="231" y="159"/>
                    </a:cxn>
                    <a:cxn ang="0">
                      <a:pos x="244" y="159"/>
                    </a:cxn>
                    <a:cxn ang="0">
                      <a:pos x="244" y="144"/>
                    </a:cxn>
                    <a:cxn ang="0">
                      <a:pos x="244" y="130"/>
                    </a:cxn>
                    <a:cxn ang="0">
                      <a:pos x="231" y="115"/>
                    </a:cxn>
                    <a:cxn ang="0">
                      <a:pos x="215" y="130"/>
                    </a:cxn>
                    <a:cxn ang="0">
                      <a:pos x="202" y="115"/>
                    </a:cxn>
                    <a:cxn ang="0">
                      <a:pos x="215" y="101"/>
                    </a:cxn>
                    <a:cxn ang="0">
                      <a:pos x="231" y="101"/>
                    </a:cxn>
                    <a:cxn ang="0">
                      <a:pos x="231" y="87"/>
                    </a:cxn>
                    <a:cxn ang="0">
                      <a:pos x="231" y="72"/>
                    </a:cxn>
                    <a:cxn ang="0">
                      <a:pos x="215" y="43"/>
                    </a:cxn>
                    <a:cxn ang="0">
                      <a:pos x="215" y="29"/>
                    </a:cxn>
                    <a:cxn ang="0">
                      <a:pos x="215" y="14"/>
                    </a:cxn>
                    <a:cxn ang="0">
                      <a:pos x="202" y="14"/>
                    </a:cxn>
                    <a:cxn ang="0">
                      <a:pos x="186" y="14"/>
                    </a:cxn>
                    <a:cxn ang="0">
                      <a:pos x="173" y="14"/>
                    </a:cxn>
                    <a:cxn ang="0">
                      <a:pos x="173" y="0"/>
                    </a:cxn>
                    <a:cxn ang="0">
                      <a:pos x="159" y="0"/>
                    </a:cxn>
                    <a:cxn ang="0">
                      <a:pos x="144" y="14"/>
                    </a:cxn>
                    <a:cxn ang="0">
                      <a:pos x="130" y="14"/>
                    </a:cxn>
                    <a:cxn ang="0">
                      <a:pos x="130" y="14"/>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3" name="Freeform 146"/>
                <p:cNvSpPr>
                  <a:spLocks/>
                </p:cNvSpPr>
                <p:nvPr>
                  <p:custDataLst>
                    <p:tags r:id="rId11"/>
                  </p:custDataLst>
                </p:nvPr>
              </p:nvSpPr>
              <p:spPr bwMode="auto">
                <a:xfrm>
                  <a:off x="4414736" y="5029179"/>
                  <a:ext cx="142742" cy="222250"/>
                </a:xfrm>
                <a:custGeom>
                  <a:avLst/>
                  <a:gdLst/>
                  <a:ahLst/>
                  <a:cxnLst>
                    <a:cxn ang="0">
                      <a:pos x="37" y="194"/>
                    </a:cxn>
                    <a:cxn ang="0">
                      <a:pos x="29" y="190"/>
                    </a:cxn>
                    <a:cxn ang="0">
                      <a:pos x="19" y="179"/>
                    </a:cxn>
                    <a:cxn ang="0">
                      <a:pos x="19" y="163"/>
                    </a:cxn>
                    <a:cxn ang="0">
                      <a:pos x="10" y="150"/>
                    </a:cxn>
                    <a:cxn ang="0">
                      <a:pos x="0" y="136"/>
                    </a:cxn>
                    <a:cxn ang="0">
                      <a:pos x="10" y="126"/>
                    </a:cxn>
                    <a:cxn ang="0">
                      <a:pos x="10" y="121"/>
                    </a:cxn>
                    <a:cxn ang="0">
                      <a:pos x="10" y="107"/>
                    </a:cxn>
                    <a:cxn ang="0">
                      <a:pos x="4" y="95"/>
                    </a:cxn>
                    <a:cxn ang="0">
                      <a:pos x="0" y="78"/>
                    </a:cxn>
                    <a:cxn ang="0">
                      <a:pos x="4" y="62"/>
                    </a:cxn>
                    <a:cxn ang="0">
                      <a:pos x="0" y="51"/>
                    </a:cxn>
                    <a:cxn ang="0">
                      <a:pos x="10" y="41"/>
                    </a:cxn>
                    <a:cxn ang="0">
                      <a:pos x="23" y="26"/>
                    </a:cxn>
                    <a:cxn ang="0">
                      <a:pos x="39" y="18"/>
                    </a:cxn>
                    <a:cxn ang="0">
                      <a:pos x="45" y="10"/>
                    </a:cxn>
                    <a:cxn ang="0">
                      <a:pos x="52" y="6"/>
                    </a:cxn>
                    <a:cxn ang="0">
                      <a:pos x="68" y="6"/>
                    </a:cxn>
                    <a:cxn ang="0">
                      <a:pos x="81" y="0"/>
                    </a:cxn>
                    <a:cxn ang="0">
                      <a:pos x="95" y="4"/>
                    </a:cxn>
                    <a:cxn ang="0">
                      <a:pos x="99" y="0"/>
                    </a:cxn>
                    <a:cxn ang="0">
                      <a:pos x="105" y="6"/>
                    </a:cxn>
                    <a:cxn ang="0">
                      <a:pos x="110" y="22"/>
                    </a:cxn>
                    <a:cxn ang="0">
                      <a:pos x="110" y="35"/>
                    </a:cxn>
                    <a:cxn ang="0">
                      <a:pos x="110" y="51"/>
                    </a:cxn>
                    <a:cxn ang="0">
                      <a:pos x="110" y="80"/>
                    </a:cxn>
                    <a:cxn ang="0">
                      <a:pos x="97" y="93"/>
                    </a:cxn>
                    <a:cxn ang="0">
                      <a:pos x="81" y="107"/>
                    </a:cxn>
                    <a:cxn ang="0">
                      <a:pos x="81" y="121"/>
                    </a:cxn>
                    <a:cxn ang="0">
                      <a:pos x="81" y="136"/>
                    </a:cxn>
                    <a:cxn ang="0">
                      <a:pos x="68" y="165"/>
                    </a:cxn>
                    <a:cxn ang="0">
                      <a:pos x="68" y="179"/>
                    </a:cxn>
                    <a:cxn ang="0">
                      <a:pos x="52" y="194"/>
                    </a:cxn>
                    <a:cxn ang="0">
                      <a:pos x="52" y="208"/>
                    </a:cxn>
                    <a:cxn ang="0">
                      <a:pos x="39" y="194"/>
                    </a:cxn>
                    <a:cxn ang="0">
                      <a:pos x="39" y="194"/>
                    </a:cxn>
                    <a:cxn ang="0">
                      <a:pos x="37" y="194"/>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4" name="Freeform 147"/>
                <p:cNvSpPr>
                  <a:spLocks/>
                </p:cNvSpPr>
                <p:nvPr>
                  <p:custDataLst>
                    <p:tags r:id="rId12"/>
                  </p:custDataLst>
                </p:nvPr>
              </p:nvSpPr>
              <p:spPr bwMode="auto">
                <a:xfrm>
                  <a:off x="4278872" y="5267304"/>
                  <a:ext cx="259689" cy="363538"/>
                </a:xfrm>
                <a:custGeom>
                  <a:avLst/>
                  <a:gdLst/>
                  <a:ahLst/>
                  <a:cxnLst>
                    <a:cxn ang="0">
                      <a:pos x="29" y="57"/>
                    </a:cxn>
                    <a:cxn ang="0">
                      <a:pos x="72" y="43"/>
                    </a:cxn>
                    <a:cxn ang="0">
                      <a:pos x="101" y="27"/>
                    </a:cxn>
                    <a:cxn ang="0">
                      <a:pos x="130" y="27"/>
                    </a:cxn>
                    <a:cxn ang="0">
                      <a:pos x="146" y="14"/>
                    </a:cxn>
                    <a:cxn ang="0">
                      <a:pos x="159" y="14"/>
                    </a:cxn>
                    <a:cxn ang="0">
                      <a:pos x="188" y="43"/>
                    </a:cxn>
                    <a:cxn ang="0">
                      <a:pos x="188" y="57"/>
                    </a:cxn>
                    <a:cxn ang="0">
                      <a:pos x="204" y="70"/>
                    </a:cxn>
                    <a:cxn ang="0">
                      <a:pos x="188" y="115"/>
                    </a:cxn>
                    <a:cxn ang="0">
                      <a:pos x="204" y="128"/>
                    </a:cxn>
                    <a:cxn ang="0">
                      <a:pos x="175" y="142"/>
                    </a:cxn>
                    <a:cxn ang="0">
                      <a:pos x="175" y="171"/>
                    </a:cxn>
                    <a:cxn ang="0">
                      <a:pos x="175" y="200"/>
                    </a:cxn>
                    <a:cxn ang="0">
                      <a:pos x="159" y="243"/>
                    </a:cxn>
                    <a:cxn ang="0">
                      <a:pos x="159" y="301"/>
                    </a:cxn>
                    <a:cxn ang="0">
                      <a:pos x="146" y="330"/>
                    </a:cxn>
                    <a:cxn ang="0">
                      <a:pos x="117" y="316"/>
                    </a:cxn>
                    <a:cxn ang="0">
                      <a:pos x="72" y="316"/>
                    </a:cxn>
                    <a:cxn ang="0">
                      <a:pos x="72" y="344"/>
                    </a:cxn>
                    <a:cxn ang="0">
                      <a:pos x="43" y="344"/>
                    </a:cxn>
                    <a:cxn ang="0">
                      <a:pos x="16" y="316"/>
                    </a:cxn>
                    <a:cxn ang="0">
                      <a:pos x="0" y="287"/>
                    </a:cxn>
                    <a:cxn ang="0">
                      <a:pos x="0" y="243"/>
                    </a:cxn>
                    <a:cxn ang="0">
                      <a:pos x="29" y="229"/>
                    </a:cxn>
                    <a:cxn ang="0">
                      <a:pos x="29" y="200"/>
                    </a:cxn>
                    <a:cxn ang="0">
                      <a:pos x="58" y="171"/>
                    </a:cxn>
                    <a:cxn ang="0">
                      <a:pos x="16" y="171"/>
                    </a:cxn>
                    <a:cxn ang="0">
                      <a:pos x="16" y="128"/>
                    </a:cxn>
                    <a:cxn ang="0">
                      <a:pos x="0" y="86"/>
                    </a:cxn>
                    <a:cxn ang="0">
                      <a:pos x="16" y="57"/>
                    </a:cxn>
                    <a:cxn ang="0">
                      <a:pos x="16" y="4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5" name="Freeform 148"/>
                <p:cNvSpPr>
                  <a:spLocks/>
                </p:cNvSpPr>
                <p:nvPr>
                  <p:custDataLst>
                    <p:tags r:id="rId13"/>
                  </p:custDataLst>
                </p:nvPr>
              </p:nvSpPr>
              <p:spPr bwMode="auto">
                <a:xfrm>
                  <a:off x="4903157" y="5802292"/>
                  <a:ext cx="515937" cy="274637"/>
                </a:xfrm>
                <a:custGeom>
                  <a:avLst/>
                  <a:gdLst/>
                  <a:ahLst/>
                  <a:cxnLst>
                    <a:cxn ang="0">
                      <a:pos x="403" y="13"/>
                    </a:cxn>
                    <a:cxn ang="0">
                      <a:pos x="403" y="29"/>
                    </a:cxn>
                    <a:cxn ang="0">
                      <a:pos x="403" y="42"/>
                    </a:cxn>
                    <a:cxn ang="0">
                      <a:pos x="390" y="71"/>
                    </a:cxn>
                    <a:cxn ang="0">
                      <a:pos x="376" y="71"/>
                    </a:cxn>
                    <a:cxn ang="0">
                      <a:pos x="361" y="85"/>
                    </a:cxn>
                    <a:cxn ang="0">
                      <a:pos x="361" y="100"/>
                    </a:cxn>
                    <a:cxn ang="0">
                      <a:pos x="361" y="114"/>
                    </a:cxn>
                    <a:cxn ang="0">
                      <a:pos x="361" y="128"/>
                    </a:cxn>
                    <a:cxn ang="0">
                      <a:pos x="347" y="143"/>
                    </a:cxn>
                    <a:cxn ang="0">
                      <a:pos x="347" y="157"/>
                    </a:cxn>
                    <a:cxn ang="0">
                      <a:pos x="347" y="172"/>
                    </a:cxn>
                    <a:cxn ang="0">
                      <a:pos x="361" y="172"/>
                    </a:cxn>
                    <a:cxn ang="0">
                      <a:pos x="347" y="186"/>
                    </a:cxn>
                    <a:cxn ang="0">
                      <a:pos x="361" y="186"/>
                    </a:cxn>
                    <a:cxn ang="0">
                      <a:pos x="361" y="215"/>
                    </a:cxn>
                    <a:cxn ang="0">
                      <a:pos x="332" y="228"/>
                    </a:cxn>
                    <a:cxn ang="0">
                      <a:pos x="332" y="258"/>
                    </a:cxn>
                    <a:cxn ang="0">
                      <a:pos x="302" y="244"/>
                    </a:cxn>
                    <a:cxn ang="0">
                      <a:pos x="289" y="258"/>
                    </a:cxn>
                    <a:cxn ang="0">
                      <a:pos x="260" y="244"/>
                    </a:cxn>
                    <a:cxn ang="0">
                      <a:pos x="244" y="215"/>
                    </a:cxn>
                    <a:cxn ang="0">
                      <a:pos x="244" y="199"/>
                    </a:cxn>
                    <a:cxn ang="0">
                      <a:pos x="215" y="186"/>
                    </a:cxn>
                    <a:cxn ang="0">
                      <a:pos x="188" y="186"/>
                    </a:cxn>
                    <a:cxn ang="0">
                      <a:pos x="174" y="172"/>
                    </a:cxn>
                    <a:cxn ang="0">
                      <a:pos x="145" y="172"/>
                    </a:cxn>
                    <a:cxn ang="0">
                      <a:pos x="130" y="143"/>
                    </a:cxn>
                    <a:cxn ang="0">
                      <a:pos x="116" y="128"/>
                    </a:cxn>
                    <a:cxn ang="0">
                      <a:pos x="74" y="114"/>
                    </a:cxn>
                    <a:cxn ang="0">
                      <a:pos x="58" y="100"/>
                    </a:cxn>
                    <a:cxn ang="0">
                      <a:pos x="45" y="100"/>
                    </a:cxn>
                    <a:cxn ang="0">
                      <a:pos x="14" y="85"/>
                    </a:cxn>
                    <a:cxn ang="0">
                      <a:pos x="0" y="71"/>
                    </a:cxn>
                    <a:cxn ang="0">
                      <a:pos x="0" y="58"/>
                    </a:cxn>
                    <a:cxn ang="0">
                      <a:pos x="14" y="42"/>
                    </a:cxn>
                    <a:cxn ang="0">
                      <a:pos x="14" y="13"/>
                    </a:cxn>
                    <a:cxn ang="0">
                      <a:pos x="29" y="13"/>
                    </a:cxn>
                    <a:cxn ang="0">
                      <a:pos x="45" y="0"/>
                    </a:cxn>
                    <a:cxn ang="0">
                      <a:pos x="58" y="13"/>
                    </a:cxn>
                    <a:cxn ang="0">
                      <a:pos x="58" y="29"/>
                    </a:cxn>
                    <a:cxn ang="0">
                      <a:pos x="87" y="13"/>
                    </a:cxn>
                    <a:cxn ang="0">
                      <a:pos x="116" y="13"/>
                    </a:cxn>
                    <a:cxn ang="0">
                      <a:pos x="130" y="29"/>
                    </a:cxn>
                    <a:cxn ang="0">
                      <a:pos x="159" y="42"/>
                    </a:cxn>
                    <a:cxn ang="0">
                      <a:pos x="188" y="58"/>
                    </a:cxn>
                    <a:cxn ang="0">
                      <a:pos x="215" y="58"/>
                    </a:cxn>
                    <a:cxn ang="0">
                      <a:pos x="244" y="42"/>
                    </a:cxn>
                    <a:cxn ang="0">
                      <a:pos x="260" y="42"/>
                    </a:cxn>
                    <a:cxn ang="0">
                      <a:pos x="273" y="42"/>
                    </a:cxn>
                    <a:cxn ang="0">
                      <a:pos x="289" y="42"/>
                    </a:cxn>
                    <a:cxn ang="0">
                      <a:pos x="302" y="29"/>
                    </a:cxn>
                    <a:cxn ang="0">
                      <a:pos x="318" y="29"/>
                    </a:cxn>
                    <a:cxn ang="0">
                      <a:pos x="332" y="42"/>
                    </a:cxn>
                    <a:cxn ang="0">
                      <a:pos x="347" y="29"/>
                    </a:cxn>
                    <a:cxn ang="0">
                      <a:pos x="376" y="29"/>
                    </a:cxn>
                    <a:cxn ang="0">
                      <a:pos x="403" y="13"/>
                    </a:cxn>
                    <a:cxn ang="0">
                      <a:pos x="403" y="13"/>
                    </a:cxn>
                    <a:cxn ang="0">
                      <a:pos x="403" y="13"/>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6" name="Freeform 149"/>
                <p:cNvSpPr>
                  <a:spLocks/>
                </p:cNvSpPr>
                <p:nvPr>
                  <p:custDataLst>
                    <p:tags r:id="rId14"/>
                  </p:custDataLst>
                </p:nvPr>
              </p:nvSpPr>
              <p:spPr bwMode="auto">
                <a:xfrm>
                  <a:off x="3190244" y="2973367"/>
                  <a:ext cx="60192" cy="33337"/>
                </a:xfrm>
                <a:custGeom>
                  <a:avLst/>
                  <a:gdLst/>
                  <a:ahLst/>
                  <a:cxnLst>
                    <a:cxn ang="0">
                      <a:pos x="29" y="29"/>
                    </a:cxn>
                    <a:cxn ang="0">
                      <a:pos x="15" y="29"/>
                    </a:cxn>
                    <a:cxn ang="0">
                      <a:pos x="0" y="29"/>
                    </a:cxn>
                    <a:cxn ang="0">
                      <a:pos x="0" y="0"/>
                    </a:cxn>
                    <a:cxn ang="0">
                      <a:pos x="15" y="0"/>
                    </a:cxn>
                    <a:cxn ang="0">
                      <a:pos x="29" y="0"/>
                    </a:cxn>
                    <a:cxn ang="0">
                      <a:pos x="45" y="15"/>
                    </a:cxn>
                    <a:cxn ang="0">
                      <a:pos x="29" y="29"/>
                    </a:cxn>
                    <a:cxn ang="0">
                      <a:pos x="29" y="29"/>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58" name="Freeform 150"/>
                <p:cNvSpPr>
                  <a:spLocks/>
                </p:cNvSpPr>
                <p:nvPr>
                  <p:custDataLst>
                    <p:tags r:id="rId15"/>
                  </p:custDataLst>
                </p:nvPr>
              </p:nvSpPr>
              <p:spPr bwMode="auto">
                <a:xfrm>
                  <a:off x="3190244" y="2973367"/>
                  <a:ext cx="60192" cy="33337"/>
                </a:xfrm>
                <a:custGeom>
                  <a:avLst/>
                  <a:gdLst/>
                  <a:ahLst/>
                  <a:cxnLst>
                    <a:cxn ang="0">
                      <a:pos x="29" y="29"/>
                    </a:cxn>
                    <a:cxn ang="0">
                      <a:pos x="15" y="29"/>
                    </a:cxn>
                    <a:cxn ang="0">
                      <a:pos x="0" y="29"/>
                    </a:cxn>
                    <a:cxn ang="0">
                      <a:pos x="0" y="0"/>
                    </a:cxn>
                    <a:cxn ang="0">
                      <a:pos x="15" y="0"/>
                    </a:cxn>
                    <a:cxn ang="0">
                      <a:pos x="29" y="0"/>
                    </a:cxn>
                    <a:cxn ang="0">
                      <a:pos x="45" y="15"/>
                    </a:cxn>
                    <a:cxn ang="0">
                      <a:pos x="29" y="29"/>
                    </a:cxn>
                    <a:cxn ang="0">
                      <a:pos x="29" y="29"/>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59" name="Freeform 151"/>
                <p:cNvSpPr>
                  <a:spLocks/>
                </p:cNvSpPr>
                <p:nvPr>
                  <p:custDataLst>
                    <p:tags r:id="rId16"/>
                  </p:custDataLst>
                </p:nvPr>
              </p:nvSpPr>
              <p:spPr bwMode="auto">
                <a:xfrm>
                  <a:off x="3388020" y="3494067"/>
                  <a:ext cx="51594" cy="15875"/>
                </a:xfrm>
                <a:custGeom>
                  <a:avLst/>
                  <a:gdLst/>
                  <a:ahLst/>
                  <a:cxnLst>
                    <a:cxn ang="0">
                      <a:pos x="0" y="0"/>
                    </a:cxn>
                    <a:cxn ang="0">
                      <a:pos x="29" y="0"/>
                    </a:cxn>
                    <a:cxn ang="0">
                      <a:pos x="43" y="0"/>
                    </a:cxn>
                    <a:cxn ang="0">
                      <a:pos x="43" y="14"/>
                    </a:cxn>
                    <a:cxn ang="0">
                      <a:pos x="29" y="14"/>
                    </a:cxn>
                    <a:cxn ang="0">
                      <a:pos x="14" y="14"/>
                    </a:cxn>
                    <a:cxn ang="0">
                      <a:pos x="0" y="0"/>
                    </a:cxn>
                    <a:cxn ang="0">
                      <a:pos x="0" y="0"/>
                    </a:cxn>
                    <a:cxn ang="0">
                      <a:pos x="0" y="0"/>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0" name="Freeform 152"/>
                <p:cNvSpPr>
                  <a:spLocks/>
                </p:cNvSpPr>
                <p:nvPr>
                  <p:custDataLst>
                    <p:tags r:id="rId17"/>
                  </p:custDataLst>
                </p:nvPr>
              </p:nvSpPr>
              <p:spPr bwMode="auto">
                <a:xfrm>
                  <a:off x="3388020" y="3494067"/>
                  <a:ext cx="51594" cy="15875"/>
                </a:xfrm>
                <a:custGeom>
                  <a:avLst/>
                  <a:gdLst/>
                  <a:ahLst/>
                  <a:cxnLst>
                    <a:cxn ang="0">
                      <a:pos x="0" y="0"/>
                    </a:cxn>
                    <a:cxn ang="0">
                      <a:pos x="29" y="0"/>
                    </a:cxn>
                    <a:cxn ang="0">
                      <a:pos x="43" y="0"/>
                    </a:cxn>
                    <a:cxn ang="0">
                      <a:pos x="43" y="14"/>
                    </a:cxn>
                    <a:cxn ang="0">
                      <a:pos x="29" y="14"/>
                    </a:cxn>
                    <a:cxn ang="0">
                      <a:pos x="14" y="14"/>
                    </a:cxn>
                    <a:cxn ang="0">
                      <a:pos x="0" y="0"/>
                    </a:cxn>
                    <a:cxn ang="0">
                      <a:pos x="0" y="0"/>
                    </a:cxn>
                  </a:cxnLst>
                  <a:rect l="0" t="0" r="r" b="b"/>
                  <a:pathLst>
                    <a:path w="43" h="14">
                      <a:moveTo>
                        <a:pt x="0" y="0"/>
                      </a:moveTo>
                      <a:lnTo>
                        <a:pt x="29" y="0"/>
                      </a:lnTo>
                      <a:lnTo>
                        <a:pt x="43" y="0"/>
                      </a:lnTo>
                      <a:lnTo>
                        <a:pt x="43" y="14"/>
                      </a:lnTo>
                      <a:lnTo>
                        <a:pt x="29" y="14"/>
                      </a:lnTo>
                      <a:lnTo>
                        <a:pt x="14" y="14"/>
                      </a:lnTo>
                      <a:lnTo>
                        <a:pt x="0" y="0"/>
                      </a:lnTo>
                      <a:lnTo>
                        <a:pt x="0" y="0"/>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61" name="Freeform 153"/>
                <p:cNvSpPr>
                  <a:spLocks/>
                </p:cNvSpPr>
                <p:nvPr>
                  <p:custDataLst>
                    <p:tags r:id="rId18"/>
                  </p:custDataLst>
                </p:nvPr>
              </p:nvSpPr>
              <p:spPr bwMode="auto">
                <a:xfrm>
                  <a:off x="3250436" y="2822554"/>
                  <a:ext cx="51594" cy="44450"/>
                </a:xfrm>
                <a:custGeom>
                  <a:avLst/>
                  <a:gdLst/>
                  <a:ahLst/>
                  <a:cxnLst>
                    <a:cxn ang="0">
                      <a:pos x="0" y="29"/>
                    </a:cxn>
                    <a:cxn ang="0">
                      <a:pos x="13" y="14"/>
                    </a:cxn>
                    <a:cxn ang="0">
                      <a:pos x="29" y="0"/>
                    </a:cxn>
                    <a:cxn ang="0">
                      <a:pos x="42" y="14"/>
                    </a:cxn>
                    <a:cxn ang="0">
                      <a:pos x="42" y="29"/>
                    </a:cxn>
                    <a:cxn ang="0">
                      <a:pos x="13" y="43"/>
                    </a:cxn>
                    <a:cxn ang="0">
                      <a:pos x="0" y="29"/>
                    </a:cxn>
                    <a:cxn ang="0">
                      <a:pos x="0" y="29"/>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2" name="Freeform 154"/>
                <p:cNvSpPr>
                  <a:spLocks/>
                </p:cNvSpPr>
                <p:nvPr>
                  <p:custDataLst>
                    <p:tags r:id="rId19"/>
                  </p:custDataLst>
                </p:nvPr>
              </p:nvSpPr>
              <p:spPr bwMode="auto">
                <a:xfrm>
                  <a:off x="2841126" y="2674917"/>
                  <a:ext cx="1067991" cy="855662"/>
                </a:xfrm>
                <a:custGeom>
                  <a:avLst/>
                  <a:gdLst/>
                  <a:ahLst/>
                  <a:cxnLst>
                    <a:cxn ang="0">
                      <a:pos x="71" y="690"/>
                    </a:cxn>
                    <a:cxn ang="0">
                      <a:pos x="157" y="632"/>
                    </a:cxn>
                    <a:cxn ang="0">
                      <a:pos x="186" y="618"/>
                    </a:cxn>
                    <a:cxn ang="0">
                      <a:pos x="228" y="632"/>
                    </a:cxn>
                    <a:cxn ang="0">
                      <a:pos x="287" y="645"/>
                    </a:cxn>
                    <a:cxn ang="0">
                      <a:pos x="343" y="618"/>
                    </a:cxn>
                    <a:cxn ang="0">
                      <a:pos x="401" y="587"/>
                    </a:cxn>
                    <a:cxn ang="0">
                      <a:pos x="372" y="576"/>
                    </a:cxn>
                    <a:cxn ang="0">
                      <a:pos x="358" y="517"/>
                    </a:cxn>
                    <a:cxn ang="0">
                      <a:pos x="389" y="475"/>
                    </a:cxn>
                    <a:cxn ang="0">
                      <a:pos x="416" y="417"/>
                    </a:cxn>
                    <a:cxn ang="0">
                      <a:pos x="416" y="360"/>
                    </a:cxn>
                    <a:cxn ang="0">
                      <a:pos x="459" y="345"/>
                    </a:cxn>
                    <a:cxn ang="0">
                      <a:pos x="430" y="316"/>
                    </a:cxn>
                    <a:cxn ang="0">
                      <a:pos x="459" y="273"/>
                    </a:cxn>
                    <a:cxn ang="0">
                      <a:pos x="502" y="244"/>
                    </a:cxn>
                    <a:cxn ang="0">
                      <a:pos x="446" y="228"/>
                    </a:cxn>
                    <a:cxn ang="0">
                      <a:pos x="446" y="172"/>
                    </a:cxn>
                    <a:cxn ang="0">
                      <a:pos x="475" y="102"/>
                    </a:cxn>
                    <a:cxn ang="0">
                      <a:pos x="517" y="87"/>
                    </a:cxn>
                    <a:cxn ang="0">
                      <a:pos x="560" y="71"/>
                    </a:cxn>
                    <a:cxn ang="0">
                      <a:pos x="589" y="42"/>
                    </a:cxn>
                    <a:cxn ang="0">
                      <a:pos x="618" y="29"/>
                    </a:cxn>
                    <a:cxn ang="0">
                      <a:pos x="674" y="42"/>
                    </a:cxn>
                    <a:cxn ang="0">
                      <a:pos x="674" y="116"/>
                    </a:cxn>
                    <a:cxn ang="0">
                      <a:pos x="661" y="186"/>
                    </a:cxn>
                    <a:cxn ang="0">
                      <a:pos x="705" y="215"/>
                    </a:cxn>
                    <a:cxn ang="0">
                      <a:pos x="719" y="273"/>
                    </a:cxn>
                    <a:cxn ang="0">
                      <a:pos x="690" y="345"/>
                    </a:cxn>
                    <a:cxn ang="0">
                      <a:pos x="719" y="374"/>
                    </a:cxn>
                    <a:cxn ang="0">
                      <a:pos x="735" y="430"/>
                    </a:cxn>
                    <a:cxn ang="0">
                      <a:pos x="690" y="475"/>
                    </a:cxn>
                    <a:cxn ang="0">
                      <a:pos x="719" y="502"/>
                    </a:cxn>
                    <a:cxn ang="0">
                      <a:pos x="791" y="502"/>
                    </a:cxn>
                    <a:cxn ang="0">
                      <a:pos x="835" y="576"/>
                    </a:cxn>
                    <a:cxn ang="0">
                      <a:pos x="791" y="645"/>
                    </a:cxn>
                    <a:cxn ang="0">
                      <a:pos x="748" y="661"/>
                    </a:cxn>
                    <a:cxn ang="0">
                      <a:pos x="719" y="674"/>
                    </a:cxn>
                    <a:cxn ang="0">
                      <a:pos x="674" y="690"/>
                    </a:cxn>
                    <a:cxn ang="0">
                      <a:pos x="690" y="733"/>
                    </a:cxn>
                    <a:cxn ang="0">
                      <a:pos x="748" y="733"/>
                    </a:cxn>
                    <a:cxn ang="0">
                      <a:pos x="719" y="775"/>
                    </a:cxn>
                    <a:cxn ang="0">
                      <a:pos x="661" y="789"/>
                    </a:cxn>
                    <a:cxn ang="0">
                      <a:pos x="589" y="775"/>
                    </a:cxn>
                    <a:cxn ang="0">
                      <a:pos x="517" y="775"/>
                    </a:cxn>
                    <a:cxn ang="0">
                      <a:pos x="475" y="746"/>
                    </a:cxn>
                    <a:cxn ang="0">
                      <a:pos x="416" y="760"/>
                    </a:cxn>
                    <a:cxn ang="0">
                      <a:pos x="343" y="760"/>
                    </a:cxn>
                    <a:cxn ang="0">
                      <a:pos x="300" y="717"/>
                    </a:cxn>
                    <a:cxn ang="0">
                      <a:pos x="242" y="704"/>
                    </a:cxn>
                    <a:cxn ang="0">
                      <a:pos x="213" y="760"/>
                    </a:cxn>
                    <a:cxn ang="0">
                      <a:pos x="143" y="733"/>
                    </a:cxn>
                    <a:cxn ang="0">
                      <a:pos x="71" y="733"/>
                    </a:cxn>
                    <a:cxn ang="0">
                      <a:pos x="27" y="746"/>
                    </a:cxn>
                    <a:cxn ang="0">
                      <a:pos x="27" y="717"/>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3" name="Freeform 155"/>
                <p:cNvSpPr>
                  <a:spLocks/>
                </p:cNvSpPr>
                <p:nvPr>
                  <p:custDataLst>
                    <p:tags r:id="rId20"/>
                  </p:custDataLst>
                </p:nvPr>
              </p:nvSpPr>
              <p:spPr bwMode="auto">
                <a:xfrm>
                  <a:off x="3013105" y="3014642"/>
                  <a:ext cx="385233" cy="303212"/>
                </a:xfrm>
                <a:custGeom>
                  <a:avLst/>
                  <a:gdLst/>
                  <a:ahLst/>
                  <a:cxnLst>
                    <a:cxn ang="0">
                      <a:pos x="274" y="29"/>
                    </a:cxn>
                    <a:cxn ang="0">
                      <a:pos x="260" y="15"/>
                    </a:cxn>
                    <a:cxn ang="0">
                      <a:pos x="245" y="0"/>
                    </a:cxn>
                    <a:cxn ang="0">
                      <a:pos x="187" y="15"/>
                    </a:cxn>
                    <a:cxn ang="0">
                      <a:pos x="144" y="29"/>
                    </a:cxn>
                    <a:cxn ang="0">
                      <a:pos x="115" y="44"/>
                    </a:cxn>
                    <a:cxn ang="0">
                      <a:pos x="130" y="58"/>
                    </a:cxn>
                    <a:cxn ang="0">
                      <a:pos x="159" y="58"/>
                    </a:cxn>
                    <a:cxn ang="0">
                      <a:pos x="187" y="44"/>
                    </a:cxn>
                    <a:cxn ang="0">
                      <a:pos x="171" y="71"/>
                    </a:cxn>
                    <a:cxn ang="0">
                      <a:pos x="171" y="100"/>
                    </a:cxn>
                    <a:cxn ang="0">
                      <a:pos x="171" y="116"/>
                    </a:cxn>
                    <a:cxn ang="0">
                      <a:pos x="144" y="130"/>
                    </a:cxn>
                    <a:cxn ang="0">
                      <a:pos x="115" y="159"/>
                    </a:cxn>
                    <a:cxn ang="0">
                      <a:pos x="86" y="159"/>
                    </a:cxn>
                    <a:cxn ang="0">
                      <a:pos x="59" y="159"/>
                    </a:cxn>
                    <a:cxn ang="0">
                      <a:pos x="27" y="143"/>
                    </a:cxn>
                    <a:cxn ang="0">
                      <a:pos x="14" y="174"/>
                    </a:cxn>
                    <a:cxn ang="0">
                      <a:pos x="27" y="188"/>
                    </a:cxn>
                    <a:cxn ang="0">
                      <a:pos x="43" y="201"/>
                    </a:cxn>
                    <a:cxn ang="0">
                      <a:pos x="27" y="215"/>
                    </a:cxn>
                    <a:cxn ang="0">
                      <a:pos x="72" y="201"/>
                    </a:cxn>
                    <a:cxn ang="0">
                      <a:pos x="101" y="201"/>
                    </a:cxn>
                    <a:cxn ang="0">
                      <a:pos x="101" y="230"/>
                    </a:cxn>
                    <a:cxn ang="0">
                      <a:pos x="101" y="230"/>
                    </a:cxn>
                    <a:cxn ang="0">
                      <a:pos x="130" y="244"/>
                    </a:cxn>
                    <a:cxn ang="0">
                      <a:pos x="130" y="259"/>
                    </a:cxn>
                    <a:cxn ang="0">
                      <a:pos x="159" y="287"/>
                    </a:cxn>
                    <a:cxn ang="0">
                      <a:pos x="202" y="287"/>
                    </a:cxn>
                    <a:cxn ang="0">
                      <a:pos x="231" y="273"/>
                    </a:cxn>
                    <a:cxn ang="0">
                      <a:pos x="245" y="259"/>
                    </a:cxn>
                    <a:cxn ang="0">
                      <a:pos x="231" y="230"/>
                    </a:cxn>
                    <a:cxn ang="0">
                      <a:pos x="231" y="201"/>
                    </a:cxn>
                    <a:cxn ang="0">
                      <a:pos x="260" y="159"/>
                    </a:cxn>
                    <a:cxn ang="0">
                      <a:pos x="260" y="159"/>
                    </a:cxn>
                    <a:cxn ang="0">
                      <a:pos x="274" y="130"/>
                    </a:cxn>
                    <a:cxn ang="0">
                      <a:pos x="289" y="100"/>
                    </a:cxn>
                    <a:cxn ang="0">
                      <a:pos x="303" y="71"/>
                    </a:cxn>
                    <a:cxn ang="0">
                      <a:pos x="289" y="44"/>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4" name="Freeform 156"/>
                <p:cNvSpPr>
                  <a:spLocks/>
                </p:cNvSpPr>
                <p:nvPr>
                  <p:custDataLst>
                    <p:tags r:id="rId21"/>
                  </p:custDataLst>
                </p:nvPr>
              </p:nvSpPr>
              <p:spPr bwMode="auto">
                <a:xfrm>
                  <a:off x="3265915" y="2157392"/>
                  <a:ext cx="533135" cy="627062"/>
                </a:xfrm>
                <a:custGeom>
                  <a:avLst/>
                  <a:gdLst/>
                  <a:ahLst/>
                  <a:cxnLst>
                    <a:cxn ang="0">
                      <a:pos x="173" y="574"/>
                    </a:cxn>
                    <a:cxn ang="0">
                      <a:pos x="130" y="560"/>
                    </a:cxn>
                    <a:cxn ang="0">
                      <a:pos x="115" y="560"/>
                    </a:cxn>
                    <a:cxn ang="0">
                      <a:pos x="72" y="545"/>
                    </a:cxn>
                    <a:cxn ang="0">
                      <a:pos x="58" y="589"/>
                    </a:cxn>
                    <a:cxn ang="0">
                      <a:pos x="29" y="545"/>
                    </a:cxn>
                    <a:cxn ang="0">
                      <a:pos x="14" y="574"/>
                    </a:cxn>
                    <a:cxn ang="0">
                      <a:pos x="0" y="531"/>
                    </a:cxn>
                    <a:cxn ang="0">
                      <a:pos x="14" y="502"/>
                    </a:cxn>
                    <a:cxn ang="0">
                      <a:pos x="43" y="473"/>
                    </a:cxn>
                    <a:cxn ang="0">
                      <a:pos x="87" y="444"/>
                    </a:cxn>
                    <a:cxn ang="0">
                      <a:pos x="115" y="417"/>
                    </a:cxn>
                    <a:cxn ang="0">
                      <a:pos x="87" y="388"/>
                    </a:cxn>
                    <a:cxn ang="0">
                      <a:pos x="58" y="374"/>
                    </a:cxn>
                    <a:cxn ang="0">
                      <a:pos x="87" y="343"/>
                    </a:cxn>
                    <a:cxn ang="0">
                      <a:pos x="43" y="358"/>
                    </a:cxn>
                    <a:cxn ang="0">
                      <a:pos x="29" y="343"/>
                    </a:cxn>
                    <a:cxn ang="0">
                      <a:pos x="72" y="302"/>
                    </a:cxn>
                    <a:cxn ang="0">
                      <a:pos x="72" y="287"/>
                    </a:cxn>
                    <a:cxn ang="0">
                      <a:pos x="115" y="244"/>
                    </a:cxn>
                    <a:cxn ang="0">
                      <a:pos x="72" y="258"/>
                    </a:cxn>
                    <a:cxn ang="0">
                      <a:pos x="29" y="258"/>
                    </a:cxn>
                    <a:cxn ang="0">
                      <a:pos x="58" y="215"/>
                    </a:cxn>
                    <a:cxn ang="0">
                      <a:pos x="87" y="186"/>
                    </a:cxn>
                    <a:cxn ang="0">
                      <a:pos x="115" y="157"/>
                    </a:cxn>
                    <a:cxn ang="0">
                      <a:pos x="101" y="143"/>
                    </a:cxn>
                    <a:cxn ang="0">
                      <a:pos x="101" y="101"/>
                    </a:cxn>
                    <a:cxn ang="0">
                      <a:pos x="144" y="85"/>
                    </a:cxn>
                    <a:cxn ang="0">
                      <a:pos x="173" y="114"/>
                    </a:cxn>
                    <a:cxn ang="0">
                      <a:pos x="157" y="71"/>
                    </a:cxn>
                    <a:cxn ang="0">
                      <a:pos x="173" y="42"/>
                    </a:cxn>
                    <a:cxn ang="0">
                      <a:pos x="202" y="42"/>
                    </a:cxn>
                    <a:cxn ang="0">
                      <a:pos x="231" y="0"/>
                    </a:cxn>
                    <a:cxn ang="0">
                      <a:pos x="258" y="29"/>
                    </a:cxn>
                    <a:cxn ang="0">
                      <a:pos x="303" y="42"/>
                    </a:cxn>
                    <a:cxn ang="0">
                      <a:pos x="345" y="42"/>
                    </a:cxn>
                    <a:cxn ang="0">
                      <a:pos x="361" y="71"/>
                    </a:cxn>
                    <a:cxn ang="0">
                      <a:pos x="318" y="101"/>
                    </a:cxn>
                    <a:cxn ang="0">
                      <a:pos x="274" y="114"/>
                    </a:cxn>
                    <a:cxn ang="0">
                      <a:pos x="245" y="143"/>
                    </a:cxn>
                    <a:cxn ang="0">
                      <a:pos x="231" y="172"/>
                    </a:cxn>
                    <a:cxn ang="0">
                      <a:pos x="215" y="199"/>
                    </a:cxn>
                    <a:cxn ang="0">
                      <a:pos x="274" y="186"/>
                    </a:cxn>
                    <a:cxn ang="0">
                      <a:pos x="345" y="186"/>
                    </a:cxn>
                    <a:cxn ang="0">
                      <a:pos x="376" y="215"/>
                    </a:cxn>
                    <a:cxn ang="0">
                      <a:pos x="419" y="215"/>
                    </a:cxn>
                    <a:cxn ang="0">
                      <a:pos x="406" y="258"/>
                    </a:cxn>
                    <a:cxn ang="0">
                      <a:pos x="376" y="273"/>
                    </a:cxn>
                    <a:cxn ang="0">
                      <a:pos x="376" y="316"/>
                    </a:cxn>
                    <a:cxn ang="0">
                      <a:pos x="332" y="358"/>
                    </a:cxn>
                    <a:cxn ang="0">
                      <a:pos x="289" y="358"/>
                    </a:cxn>
                    <a:cxn ang="0">
                      <a:pos x="245" y="374"/>
                    </a:cxn>
                    <a:cxn ang="0">
                      <a:pos x="289" y="388"/>
                    </a:cxn>
                    <a:cxn ang="0">
                      <a:pos x="245" y="417"/>
                    </a:cxn>
                    <a:cxn ang="0">
                      <a:pos x="202" y="401"/>
                    </a:cxn>
                    <a:cxn ang="0">
                      <a:pos x="202" y="417"/>
                    </a:cxn>
                    <a:cxn ang="0">
                      <a:pos x="258" y="430"/>
                    </a:cxn>
                    <a:cxn ang="0">
                      <a:pos x="303" y="459"/>
                    </a:cxn>
                    <a:cxn ang="0">
                      <a:pos x="289" y="517"/>
                    </a:cxn>
                    <a:cxn ang="0">
                      <a:pos x="274" y="531"/>
                    </a:cxn>
                    <a:cxn ang="0">
                      <a:pos x="245" y="545"/>
                    </a:cxn>
                    <a:cxn ang="0">
                      <a:pos x="215" y="574"/>
                    </a:cxn>
                    <a:cxn ang="0">
                      <a:pos x="186" y="574"/>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5" name="Freeform 157"/>
                <p:cNvSpPr>
                  <a:spLocks/>
                </p:cNvSpPr>
                <p:nvPr>
                  <p:custDataLst>
                    <p:tags r:id="rId22"/>
                  </p:custDataLst>
                </p:nvPr>
              </p:nvSpPr>
              <p:spPr bwMode="auto">
                <a:xfrm>
                  <a:off x="4168805" y="4216379"/>
                  <a:ext cx="662120" cy="290513"/>
                </a:xfrm>
                <a:custGeom>
                  <a:avLst/>
                  <a:gdLst/>
                  <a:ahLst/>
                  <a:cxnLst>
                    <a:cxn ang="0">
                      <a:pos x="53" y="145"/>
                    </a:cxn>
                    <a:cxn ang="0">
                      <a:pos x="63" y="135"/>
                    </a:cxn>
                    <a:cxn ang="0">
                      <a:pos x="53" y="116"/>
                    </a:cxn>
                    <a:cxn ang="0">
                      <a:pos x="75" y="116"/>
                    </a:cxn>
                    <a:cxn ang="0">
                      <a:pos x="63" y="86"/>
                    </a:cxn>
                    <a:cxn ang="0">
                      <a:pos x="53" y="97"/>
                    </a:cxn>
                    <a:cxn ang="0">
                      <a:pos x="32" y="116"/>
                    </a:cxn>
                    <a:cxn ang="0">
                      <a:pos x="0" y="106"/>
                    </a:cxn>
                    <a:cxn ang="0">
                      <a:pos x="32" y="68"/>
                    </a:cxn>
                    <a:cxn ang="0">
                      <a:pos x="41" y="47"/>
                    </a:cxn>
                    <a:cxn ang="0">
                      <a:pos x="84" y="38"/>
                    </a:cxn>
                    <a:cxn ang="0">
                      <a:pos x="96" y="9"/>
                    </a:cxn>
                    <a:cxn ang="0">
                      <a:pos x="118" y="9"/>
                    </a:cxn>
                    <a:cxn ang="0">
                      <a:pos x="139" y="0"/>
                    </a:cxn>
                    <a:cxn ang="0">
                      <a:pos x="150" y="0"/>
                    </a:cxn>
                    <a:cxn ang="0">
                      <a:pos x="159" y="0"/>
                    </a:cxn>
                    <a:cxn ang="0">
                      <a:pos x="193" y="9"/>
                    </a:cxn>
                    <a:cxn ang="0">
                      <a:pos x="212" y="9"/>
                    </a:cxn>
                    <a:cxn ang="0">
                      <a:pos x="234" y="9"/>
                    </a:cxn>
                    <a:cxn ang="0">
                      <a:pos x="272" y="13"/>
                    </a:cxn>
                    <a:cxn ang="0">
                      <a:pos x="277" y="20"/>
                    </a:cxn>
                    <a:cxn ang="0">
                      <a:pos x="290" y="29"/>
                    </a:cxn>
                    <a:cxn ang="0">
                      <a:pos x="309" y="47"/>
                    </a:cxn>
                    <a:cxn ang="0">
                      <a:pos x="298" y="68"/>
                    </a:cxn>
                    <a:cxn ang="0">
                      <a:pos x="309" y="77"/>
                    </a:cxn>
                    <a:cxn ang="0">
                      <a:pos x="332" y="86"/>
                    </a:cxn>
                    <a:cxn ang="0">
                      <a:pos x="385" y="97"/>
                    </a:cxn>
                    <a:cxn ang="0">
                      <a:pos x="373" y="106"/>
                    </a:cxn>
                    <a:cxn ang="0">
                      <a:pos x="373" y="125"/>
                    </a:cxn>
                    <a:cxn ang="0">
                      <a:pos x="352" y="116"/>
                    </a:cxn>
                    <a:cxn ang="0">
                      <a:pos x="332" y="135"/>
                    </a:cxn>
                    <a:cxn ang="0">
                      <a:pos x="332" y="154"/>
                    </a:cxn>
                    <a:cxn ang="0">
                      <a:pos x="309" y="145"/>
                    </a:cxn>
                    <a:cxn ang="0">
                      <a:pos x="287" y="145"/>
                    </a:cxn>
                    <a:cxn ang="0">
                      <a:pos x="277" y="125"/>
                    </a:cxn>
                    <a:cxn ang="0">
                      <a:pos x="267" y="135"/>
                    </a:cxn>
                    <a:cxn ang="0">
                      <a:pos x="255" y="154"/>
                    </a:cxn>
                    <a:cxn ang="0">
                      <a:pos x="234" y="174"/>
                    </a:cxn>
                    <a:cxn ang="0">
                      <a:pos x="224" y="174"/>
                    </a:cxn>
                    <a:cxn ang="0">
                      <a:pos x="202" y="154"/>
                    </a:cxn>
                    <a:cxn ang="0">
                      <a:pos x="202" y="135"/>
                    </a:cxn>
                    <a:cxn ang="0">
                      <a:pos x="181" y="125"/>
                    </a:cxn>
                    <a:cxn ang="0">
                      <a:pos x="171" y="145"/>
                    </a:cxn>
                    <a:cxn ang="0">
                      <a:pos x="150" y="165"/>
                    </a:cxn>
                    <a:cxn ang="0">
                      <a:pos x="118" y="154"/>
                    </a:cxn>
                    <a:cxn ang="0">
                      <a:pos x="63" y="154"/>
                    </a:cxn>
                    <a:cxn ang="0">
                      <a:pos x="63" y="154"/>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6" name="Freeform 158"/>
                <p:cNvSpPr>
                  <a:spLocks/>
                </p:cNvSpPr>
                <p:nvPr>
                  <p:custDataLst>
                    <p:tags r:id="rId23"/>
                  </p:custDataLst>
                </p:nvPr>
              </p:nvSpPr>
              <p:spPr bwMode="auto">
                <a:xfrm>
                  <a:off x="4784491" y="2722542"/>
                  <a:ext cx="328481" cy="354012"/>
                </a:xfrm>
                <a:custGeom>
                  <a:avLst/>
                  <a:gdLst/>
                  <a:ahLst/>
                  <a:cxnLst>
                    <a:cxn ang="0">
                      <a:pos x="56" y="303"/>
                    </a:cxn>
                    <a:cxn ang="0">
                      <a:pos x="101" y="318"/>
                    </a:cxn>
                    <a:cxn ang="0">
                      <a:pos x="99" y="332"/>
                    </a:cxn>
                    <a:cxn ang="0">
                      <a:pos x="128" y="318"/>
                    </a:cxn>
                    <a:cxn ang="0">
                      <a:pos x="99" y="289"/>
                    </a:cxn>
                    <a:cxn ang="0">
                      <a:pos x="128" y="274"/>
                    </a:cxn>
                    <a:cxn ang="0">
                      <a:pos x="114" y="246"/>
                    </a:cxn>
                    <a:cxn ang="0">
                      <a:pos x="128" y="231"/>
                    </a:cxn>
                    <a:cxn ang="0">
                      <a:pos x="143" y="217"/>
                    </a:cxn>
                    <a:cxn ang="0">
                      <a:pos x="173" y="204"/>
                    </a:cxn>
                    <a:cxn ang="0">
                      <a:pos x="202" y="173"/>
                    </a:cxn>
                    <a:cxn ang="0">
                      <a:pos x="202" y="130"/>
                    </a:cxn>
                    <a:cxn ang="0">
                      <a:pos x="231" y="115"/>
                    </a:cxn>
                    <a:cxn ang="0">
                      <a:pos x="244" y="130"/>
                    </a:cxn>
                    <a:cxn ang="0">
                      <a:pos x="258" y="101"/>
                    </a:cxn>
                    <a:cxn ang="0">
                      <a:pos x="244" y="74"/>
                    </a:cxn>
                    <a:cxn ang="0">
                      <a:pos x="215" y="74"/>
                    </a:cxn>
                    <a:cxn ang="0">
                      <a:pos x="202" y="58"/>
                    </a:cxn>
                    <a:cxn ang="0">
                      <a:pos x="215" y="29"/>
                    </a:cxn>
                    <a:cxn ang="0">
                      <a:pos x="215" y="16"/>
                    </a:cxn>
                    <a:cxn ang="0">
                      <a:pos x="202" y="0"/>
                    </a:cxn>
                    <a:cxn ang="0">
                      <a:pos x="186" y="16"/>
                    </a:cxn>
                    <a:cxn ang="0">
                      <a:pos x="143" y="16"/>
                    </a:cxn>
                    <a:cxn ang="0">
                      <a:pos x="143" y="45"/>
                    </a:cxn>
                    <a:cxn ang="0">
                      <a:pos x="143" y="74"/>
                    </a:cxn>
                    <a:cxn ang="0">
                      <a:pos x="128" y="45"/>
                    </a:cxn>
                    <a:cxn ang="0">
                      <a:pos x="114" y="45"/>
                    </a:cxn>
                    <a:cxn ang="0">
                      <a:pos x="99" y="29"/>
                    </a:cxn>
                    <a:cxn ang="0">
                      <a:pos x="87" y="58"/>
                    </a:cxn>
                    <a:cxn ang="0">
                      <a:pos x="72" y="74"/>
                    </a:cxn>
                    <a:cxn ang="0">
                      <a:pos x="56" y="45"/>
                    </a:cxn>
                    <a:cxn ang="0">
                      <a:pos x="43" y="29"/>
                    </a:cxn>
                    <a:cxn ang="0">
                      <a:pos x="27" y="45"/>
                    </a:cxn>
                    <a:cxn ang="0">
                      <a:pos x="13" y="74"/>
                    </a:cxn>
                    <a:cxn ang="0">
                      <a:pos x="13" y="115"/>
                    </a:cxn>
                    <a:cxn ang="0">
                      <a:pos x="13" y="146"/>
                    </a:cxn>
                    <a:cxn ang="0">
                      <a:pos x="13" y="173"/>
                    </a:cxn>
                    <a:cxn ang="0">
                      <a:pos x="13" y="204"/>
                    </a:cxn>
                    <a:cxn ang="0">
                      <a:pos x="27" y="217"/>
                    </a:cxn>
                    <a:cxn ang="0">
                      <a:pos x="43" y="246"/>
                    </a:cxn>
                    <a:cxn ang="0">
                      <a:pos x="43" y="289"/>
                    </a:cxn>
                    <a:cxn ang="0">
                      <a:pos x="43" y="318"/>
                    </a:cxn>
                    <a:cxn ang="0">
                      <a:pos x="43" y="303"/>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7" name="Freeform 159"/>
                <p:cNvSpPr>
                  <a:spLocks/>
                </p:cNvSpPr>
                <p:nvPr>
                  <p:custDataLst>
                    <p:tags r:id="rId24"/>
                  </p:custDataLst>
                </p:nvPr>
              </p:nvSpPr>
              <p:spPr bwMode="auto">
                <a:xfrm>
                  <a:off x="4784491" y="2722542"/>
                  <a:ext cx="328481" cy="354012"/>
                </a:xfrm>
                <a:custGeom>
                  <a:avLst/>
                  <a:gdLst/>
                  <a:ahLst/>
                  <a:cxnLst>
                    <a:cxn ang="0">
                      <a:pos x="56" y="303"/>
                    </a:cxn>
                    <a:cxn ang="0">
                      <a:pos x="101" y="318"/>
                    </a:cxn>
                    <a:cxn ang="0">
                      <a:pos x="99" y="332"/>
                    </a:cxn>
                    <a:cxn ang="0">
                      <a:pos x="128" y="318"/>
                    </a:cxn>
                    <a:cxn ang="0">
                      <a:pos x="99" y="289"/>
                    </a:cxn>
                    <a:cxn ang="0">
                      <a:pos x="128" y="274"/>
                    </a:cxn>
                    <a:cxn ang="0">
                      <a:pos x="114" y="246"/>
                    </a:cxn>
                    <a:cxn ang="0">
                      <a:pos x="128" y="231"/>
                    </a:cxn>
                    <a:cxn ang="0">
                      <a:pos x="143" y="217"/>
                    </a:cxn>
                    <a:cxn ang="0">
                      <a:pos x="173" y="204"/>
                    </a:cxn>
                    <a:cxn ang="0">
                      <a:pos x="202" y="173"/>
                    </a:cxn>
                    <a:cxn ang="0">
                      <a:pos x="202" y="130"/>
                    </a:cxn>
                    <a:cxn ang="0">
                      <a:pos x="231" y="115"/>
                    </a:cxn>
                    <a:cxn ang="0">
                      <a:pos x="244" y="130"/>
                    </a:cxn>
                    <a:cxn ang="0">
                      <a:pos x="258" y="101"/>
                    </a:cxn>
                    <a:cxn ang="0">
                      <a:pos x="244" y="74"/>
                    </a:cxn>
                    <a:cxn ang="0">
                      <a:pos x="215" y="74"/>
                    </a:cxn>
                    <a:cxn ang="0">
                      <a:pos x="202" y="58"/>
                    </a:cxn>
                    <a:cxn ang="0">
                      <a:pos x="215" y="29"/>
                    </a:cxn>
                    <a:cxn ang="0">
                      <a:pos x="215" y="16"/>
                    </a:cxn>
                    <a:cxn ang="0">
                      <a:pos x="202" y="0"/>
                    </a:cxn>
                    <a:cxn ang="0">
                      <a:pos x="186" y="16"/>
                    </a:cxn>
                    <a:cxn ang="0">
                      <a:pos x="143" y="16"/>
                    </a:cxn>
                    <a:cxn ang="0">
                      <a:pos x="143" y="45"/>
                    </a:cxn>
                    <a:cxn ang="0">
                      <a:pos x="143" y="74"/>
                    </a:cxn>
                    <a:cxn ang="0">
                      <a:pos x="128" y="45"/>
                    </a:cxn>
                    <a:cxn ang="0">
                      <a:pos x="114" y="45"/>
                    </a:cxn>
                    <a:cxn ang="0">
                      <a:pos x="99" y="29"/>
                    </a:cxn>
                    <a:cxn ang="0">
                      <a:pos x="87" y="58"/>
                    </a:cxn>
                    <a:cxn ang="0">
                      <a:pos x="72" y="74"/>
                    </a:cxn>
                    <a:cxn ang="0">
                      <a:pos x="56" y="45"/>
                    </a:cxn>
                    <a:cxn ang="0">
                      <a:pos x="43" y="29"/>
                    </a:cxn>
                    <a:cxn ang="0">
                      <a:pos x="27" y="45"/>
                    </a:cxn>
                    <a:cxn ang="0">
                      <a:pos x="13" y="74"/>
                    </a:cxn>
                    <a:cxn ang="0">
                      <a:pos x="13" y="115"/>
                    </a:cxn>
                    <a:cxn ang="0">
                      <a:pos x="13" y="146"/>
                    </a:cxn>
                    <a:cxn ang="0">
                      <a:pos x="13" y="173"/>
                    </a:cxn>
                    <a:cxn ang="0">
                      <a:pos x="13" y="204"/>
                    </a:cxn>
                    <a:cxn ang="0">
                      <a:pos x="27" y="217"/>
                    </a:cxn>
                    <a:cxn ang="0">
                      <a:pos x="43" y="246"/>
                    </a:cxn>
                    <a:cxn ang="0">
                      <a:pos x="43" y="289"/>
                    </a:cxn>
                    <a:cxn ang="0">
                      <a:pos x="43" y="318"/>
                    </a:cxn>
                    <a:cxn ang="0">
                      <a:pos x="43" y="303"/>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68" name="Freeform 160"/>
                <p:cNvSpPr>
                  <a:spLocks/>
                </p:cNvSpPr>
                <p:nvPr>
                  <p:custDataLst>
                    <p:tags r:id="rId25"/>
                  </p:custDataLst>
                </p:nvPr>
              </p:nvSpPr>
              <p:spPr bwMode="auto">
                <a:xfrm>
                  <a:off x="4318428" y="3043217"/>
                  <a:ext cx="1195255" cy="1300162"/>
                </a:xfrm>
                <a:custGeom>
                  <a:avLst/>
                  <a:gdLst/>
                  <a:ahLst/>
                  <a:cxnLst>
                    <a:cxn ang="0">
                      <a:pos x="21" y="500"/>
                    </a:cxn>
                    <a:cxn ang="0">
                      <a:pos x="21" y="548"/>
                    </a:cxn>
                    <a:cxn ang="0">
                      <a:pos x="96" y="596"/>
                    </a:cxn>
                    <a:cxn ang="0">
                      <a:pos x="96" y="635"/>
                    </a:cxn>
                    <a:cxn ang="0">
                      <a:pos x="75" y="703"/>
                    </a:cxn>
                    <a:cxn ang="0">
                      <a:pos x="75" y="751"/>
                    </a:cxn>
                    <a:cxn ang="0">
                      <a:pos x="130" y="751"/>
                    </a:cxn>
                    <a:cxn ang="0">
                      <a:pos x="185" y="758"/>
                    </a:cxn>
                    <a:cxn ang="0">
                      <a:pos x="235" y="771"/>
                    </a:cxn>
                    <a:cxn ang="0">
                      <a:pos x="289" y="799"/>
                    </a:cxn>
                    <a:cxn ang="0">
                      <a:pos x="336" y="788"/>
                    </a:cxn>
                    <a:cxn ang="0">
                      <a:pos x="397" y="789"/>
                    </a:cxn>
                    <a:cxn ang="0">
                      <a:pos x="460" y="779"/>
                    </a:cxn>
                    <a:cxn ang="0">
                      <a:pos x="495" y="797"/>
                    </a:cxn>
                    <a:cxn ang="0">
                      <a:pos x="524" y="799"/>
                    </a:cxn>
                    <a:cxn ang="0">
                      <a:pos x="503" y="751"/>
                    </a:cxn>
                    <a:cxn ang="0">
                      <a:pos x="556" y="703"/>
                    </a:cxn>
                    <a:cxn ang="0">
                      <a:pos x="588" y="684"/>
                    </a:cxn>
                    <a:cxn ang="0">
                      <a:pos x="545" y="646"/>
                    </a:cxn>
                    <a:cxn ang="0">
                      <a:pos x="503" y="578"/>
                    </a:cxn>
                    <a:cxn ang="0">
                      <a:pos x="471" y="519"/>
                    </a:cxn>
                    <a:cxn ang="0">
                      <a:pos x="493" y="491"/>
                    </a:cxn>
                    <a:cxn ang="0">
                      <a:pos x="565" y="482"/>
                    </a:cxn>
                    <a:cxn ang="0">
                      <a:pos x="654" y="434"/>
                    </a:cxn>
                    <a:cxn ang="0">
                      <a:pos x="685" y="434"/>
                    </a:cxn>
                    <a:cxn ang="0">
                      <a:pos x="685" y="375"/>
                    </a:cxn>
                    <a:cxn ang="0">
                      <a:pos x="674" y="299"/>
                    </a:cxn>
                    <a:cxn ang="0">
                      <a:pos x="654" y="261"/>
                    </a:cxn>
                    <a:cxn ang="0">
                      <a:pos x="663" y="202"/>
                    </a:cxn>
                    <a:cxn ang="0">
                      <a:pos x="631" y="135"/>
                    </a:cxn>
                    <a:cxn ang="0">
                      <a:pos x="588" y="97"/>
                    </a:cxn>
                    <a:cxn ang="0">
                      <a:pos x="545" y="97"/>
                    </a:cxn>
                    <a:cxn ang="0">
                      <a:pos x="481" y="115"/>
                    </a:cxn>
                    <a:cxn ang="0">
                      <a:pos x="440" y="97"/>
                    </a:cxn>
                    <a:cxn ang="0">
                      <a:pos x="428" y="76"/>
                    </a:cxn>
                    <a:cxn ang="0">
                      <a:pos x="385" y="58"/>
                    </a:cxn>
                    <a:cxn ang="0">
                      <a:pos x="363" y="29"/>
                    </a:cxn>
                    <a:cxn ang="0">
                      <a:pos x="301" y="0"/>
                    </a:cxn>
                    <a:cxn ang="0">
                      <a:pos x="289" y="58"/>
                    </a:cxn>
                    <a:cxn ang="0">
                      <a:pos x="289" y="87"/>
                    </a:cxn>
                    <a:cxn ang="0">
                      <a:pos x="332" y="144"/>
                    </a:cxn>
                    <a:cxn ang="0">
                      <a:pos x="269" y="125"/>
                    </a:cxn>
                    <a:cxn ang="0">
                      <a:pos x="246" y="155"/>
                    </a:cxn>
                    <a:cxn ang="0">
                      <a:pos x="226" y="144"/>
                    </a:cxn>
                    <a:cxn ang="0">
                      <a:pos x="172" y="115"/>
                    </a:cxn>
                    <a:cxn ang="0">
                      <a:pos x="163" y="144"/>
                    </a:cxn>
                    <a:cxn ang="0">
                      <a:pos x="163" y="194"/>
                    </a:cxn>
                    <a:cxn ang="0">
                      <a:pos x="151" y="241"/>
                    </a:cxn>
                    <a:cxn ang="0">
                      <a:pos x="130" y="299"/>
                    </a:cxn>
                    <a:cxn ang="0">
                      <a:pos x="55" y="299"/>
                    </a:cxn>
                    <a:cxn ang="0">
                      <a:pos x="33" y="356"/>
                    </a:cxn>
                    <a:cxn ang="0">
                      <a:pos x="0" y="414"/>
                    </a:cxn>
                    <a:cxn ang="0">
                      <a:pos x="0" y="443"/>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69" name="Freeform 161"/>
                <p:cNvSpPr>
                  <a:spLocks/>
                </p:cNvSpPr>
                <p:nvPr>
                  <p:custDataLst>
                    <p:tags r:id="rId26"/>
                  </p:custDataLst>
                </p:nvPr>
              </p:nvSpPr>
              <p:spPr bwMode="auto">
                <a:xfrm>
                  <a:off x="4266834" y="3751242"/>
                  <a:ext cx="91148" cy="128587"/>
                </a:xfrm>
                <a:custGeom>
                  <a:avLst/>
                  <a:gdLst/>
                  <a:ahLst/>
                  <a:cxnLst>
                    <a:cxn ang="0">
                      <a:pos x="3" y="69"/>
                    </a:cxn>
                    <a:cxn ang="0">
                      <a:pos x="5" y="52"/>
                    </a:cxn>
                    <a:cxn ang="0">
                      <a:pos x="0" y="43"/>
                    </a:cxn>
                    <a:cxn ang="0">
                      <a:pos x="0" y="33"/>
                    </a:cxn>
                    <a:cxn ang="0">
                      <a:pos x="0" y="23"/>
                    </a:cxn>
                    <a:cxn ang="0">
                      <a:pos x="3" y="9"/>
                    </a:cxn>
                    <a:cxn ang="0">
                      <a:pos x="18" y="0"/>
                    </a:cxn>
                    <a:cxn ang="0">
                      <a:pos x="31" y="14"/>
                    </a:cxn>
                    <a:cxn ang="0">
                      <a:pos x="31" y="23"/>
                    </a:cxn>
                    <a:cxn ang="0">
                      <a:pos x="43" y="33"/>
                    </a:cxn>
                    <a:cxn ang="0">
                      <a:pos x="53" y="43"/>
                    </a:cxn>
                    <a:cxn ang="0">
                      <a:pos x="53" y="51"/>
                    </a:cxn>
                    <a:cxn ang="0">
                      <a:pos x="53" y="62"/>
                    </a:cxn>
                    <a:cxn ang="0">
                      <a:pos x="50" y="81"/>
                    </a:cxn>
                    <a:cxn ang="0">
                      <a:pos x="43" y="81"/>
                    </a:cxn>
                    <a:cxn ang="0">
                      <a:pos x="17" y="81"/>
                    </a:cxn>
                    <a:cxn ang="0">
                      <a:pos x="3" y="69"/>
                    </a:cxn>
                    <a:cxn ang="0">
                      <a:pos x="3" y="69"/>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0" name="Freeform 162"/>
                <p:cNvSpPr>
                  <a:spLocks/>
                </p:cNvSpPr>
                <p:nvPr>
                  <p:custDataLst>
                    <p:tags r:id="rId27"/>
                  </p:custDataLst>
                </p:nvPr>
              </p:nvSpPr>
              <p:spPr bwMode="auto">
                <a:xfrm>
                  <a:off x="4856722" y="2593954"/>
                  <a:ext cx="294085" cy="155575"/>
                </a:xfrm>
                <a:custGeom>
                  <a:avLst/>
                  <a:gdLst/>
                  <a:ahLst/>
                  <a:cxnLst>
                    <a:cxn ang="0">
                      <a:pos x="14" y="143"/>
                    </a:cxn>
                    <a:cxn ang="0">
                      <a:pos x="16" y="130"/>
                    </a:cxn>
                    <a:cxn ang="0">
                      <a:pos x="16" y="114"/>
                    </a:cxn>
                    <a:cxn ang="0">
                      <a:pos x="29" y="101"/>
                    </a:cxn>
                    <a:cxn ang="0">
                      <a:pos x="43" y="101"/>
                    </a:cxn>
                    <a:cxn ang="0">
                      <a:pos x="58" y="101"/>
                    </a:cxn>
                    <a:cxn ang="0">
                      <a:pos x="72" y="101"/>
                    </a:cxn>
                    <a:cxn ang="0">
                      <a:pos x="85" y="101"/>
                    </a:cxn>
                    <a:cxn ang="0">
                      <a:pos x="101" y="101"/>
                    </a:cxn>
                    <a:cxn ang="0">
                      <a:pos x="115" y="85"/>
                    </a:cxn>
                    <a:cxn ang="0">
                      <a:pos x="130" y="85"/>
                    </a:cxn>
                    <a:cxn ang="0">
                      <a:pos x="159" y="85"/>
                    </a:cxn>
                    <a:cxn ang="0">
                      <a:pos x="173" y="101"/>
                    </a:cxn>
                    <a:cxn ang="0">
                      <a:pos x="188" y="114"/>
                    </a:cxn>
                    <a:cxn ang="0">
                      <a:pos x="188" y="101"/>
                    </a:cxn>
                    <a:cxn ang="0">
                      <a:pos x="202" y="85"/>
                    </a:cxn>
                    <a:cxn ang="0">
                      <a:pos x="217" y="72"/>
                    </a:cxn>
                    <a:cxn ang="0">
                      <a:pos x="217" y="43"/>
                    </a:cxn>
                    <a:cxn ang="0">
                      <a:pos x="202" y="43"/>
                    </a:cxn>
                    <a:cxn ang="0">
                      <a:pos x="202" y="29"/>
                    </a:cxn>
                    <a:cxn ang="0">
                      <a:pos x="217" y="14"/>
                    </a:cxn>
                    <a:cxn ang="0">
                      <a:pos x="231" y="0"/>
                    </a:cxn>
                    <a:cxn ang="0">
                      <a:pos x="217" y="0"/>
                    </a:cxn>
                    <a:cxn ang="0">
                      <a:pos x="202" y="14"/>
                    </a:cxn>
                    <a:cxn ang="0">
                      <a:pos x="188" y="14"/>
                    </a:cxn>
                    <a:cxn ang="0">
                      <a:pos x="173" y="14"/>
                    </a:cxn>
                    <a:cxn ang="0">
                      <a:pos x="159" y="29"/>
                    </a:cxn>
                    <a:cxn ang="0">
                      <a:pos x="144" y="29"/>
                    </a:cxn>
                    <a:cxn ang="0">
                      <a:pos x="130" y="43"/>
                    </a:cxn>
                    <a:cxn ang="0">
                      <a:pos x="115" y="58"/>
                    </a:cxn>
                    <a:cxn ang="0">
                      <a:pos x="115" y="72"/>
                    </a:cxn>
                    <a:cxn ang="0">
                      <a:pos x="101" y="85"/>
                    </a:cxn>
                    <a:cxn ang="0">
                      <a:pos x="85" y="85"/>
                    </a:cxn>
                    <a:cxn ang="0">
                      <a:pos x="72" y="85"/>
                    </a:cxn>
                    <a:cxn ang="0">
                      <a:pos x="29" y="85"/>
                    </a:cxn>
                    <a:cxn ang="0">
                      <a:pos x="16" y="85"/>
                    </a:cxn>
                    <a:cxn ang="0">
                      <a:pos x="0" y="101"/>
                    </a:cxn>
                    <a:cxn ang="0">
                      <a:pos x="0" y="114"/>
                    </a:cxn>
                    <a:cxn ang="0">
                      <a:pos x="16" y="143"/>
                    </a:cxn>
                    <a:cxn ang="0">
                      <a:pos x="16" y="143"/>
                    </a:cxn>
                    <a:cxn ang="0">
                      <a:pos x="14" y="143"/>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1" name="Freeform 163"/>
                <p:cNvSpPr>
                  <a:spLocks/>
                </p:cNvSpPr>
                <p:nvPr>
                  <p:custDataLst>
                    <p:tags r:id="rId28"/>
                  </p:custDataLst>
                </p:nvPr>
              </p:nvSpPr>
              <p:spPr bwMode="auto">
                <a:xfrm>
                  <a:off x="4856722" y="2593954"/>
                  <a:ext cx="294085" cy="155575"/>
                </a:xfrm>
                <a:custGeom>
                  <a:avLst/>
                  <a:gdLst/>
                  <a:ahLst/>
                  <a:cxnLst>
                    <a:cxn ang="0">
                      <a:pos x="14" y="143"/>
                    </a:cxn>
                    <a:cxn ang="0">
                      <a:pos x="16" y="130"/>
                    </a:cxn>
                    <a:cxn ang="0">
                      <a:pos x="16" y="114"/>
                    </a:cxn>
                    <a:cxn ang="0">
                      <a:pos x="29" y="101"/>
                    </a:cxn>
                    <a:cxn ang="0">
                      <a:pos x="43" y="101"/>
                    </a:cxn>
                    <a:cxn ang="0">
                      <a:pos x="58" y="101"/>
                    </a:cxn>
                    <a:cxn ang="0">
                      <a:pos x="72" y="101"/>
                    </a:cxn>
                    <a:cxn ang="0">
                      <a:pos x="85" y="101"/>
                    </a:cxn>
                    <a:cxn ang="0">
                      <a:pos x="101" y="101"/>
                    </a:cxn>
                    <a:cxn ang="0">
                      <a:pos x="115" y="85"/>
                    </a:cxn>
                    <a:cxn ang="0">
                      <a:pos x="130" y="85"/>
                    </a:cxn>
                    <a:cxn ang="0">
                      <a:pos x="159" y="85"/>
                    </a:cxn>
                    <a:cxn ang="0">
                      <a:pos x="173" y="101"/>
                    </a:cxn>
                    <a:cxn ang="0">
                      <a:pos x="188" y="114"/>
                    </a:cxn>
                    <a:cxn ang="0">
                      <a:pos x="188" y="101"/>
                    </a:cxn>
                    <a:cxn ang="0">
                      <a:pos x="202" y="85"/>
                    </a:cxn>
                    <a:cxn ang="0">
                      <a:pos x="217" y="72"/>
                    </a:cxn>
                    <a:cxn ang="0">
                      <a:pos x="217" y="43"/>
                    </a:cxn>
                    <a:cxn ang="0">
                      <a:pos x="202" y="43"/>
                    </a:cxn>
                    <a:cxn ang="0">
                      <a:pos x="202" y="29"/>
                    </a:cxn>
                    <a:cxn ang="0">
                      <a:pos x="217" y="14"/>
                    </a:cxn>
                    <a:cxn ang="0">
                      <a:pos x="231" y="0"/>
                    </a:cxn>
                    <a:cxn ang="0">
                      <a:pos x="217" y="0"/>
                    </a:cxn>
                    <a:cxn ang="0">
                      <a:pos x="202" y="14"/>
                    </a:cxn>
                    <a:cxn ang="0">
                      <a:pos x="188" y="14"/>
                    </a:cxn>
                    <a:cxn ang="0">
                      <a:pos x="173" y="14"/>
                    </a:cxn>
                    <a:cxn ang="0">
                      <a:pos x="159" y="29"/>
                    </a:cxn>
                    <a:cxn ang="0">
                      <a:pos x="144" y="29"/>
                    </a:cxn>
                    <a:cxn ang="0">
                      <a:pos x="130" y="43"/>
                    </a:cxn>
                    <a:cxn ang="0">
                      <a:pos x="115" y="58"/>
                    </a:cxn>
                    <a:cxn ang="0">
                      <a:pos x="115" y="72"/>
                    </a:cxn>
                    <a:cxn ang="0">
                      <a:pos x="101" y="85"/>
                    </a:cxn>
                    <a:cxn ang="0">
                      <a:pos x="85" y="85"/>
                    </a:cxn>
                    <a:cxn ang="0">
                      <a:pos x="72" y="85"/>
                    </a:cxn>
                    <a:cxn ang="0">
                      <a:pos x="29" y="85"/>
                    </a:cxn>
                    <a:cxn ang="0">
                      <a:pos x="16" y="85"/>
                    </a:cxn>
                    <a:cxn ang="0">
                      <a:pos x="0" y="101"/>
                    </a:cxn>
                    <a:cxn ang="0">
                      <a:pos x="0" y="114"/>
                    </a:cxn>
                    <a:cxn ang="0">
                      <a:pos x="16" y="143"/>
                    </a:cxn>
                    <a:cxn ang="0">
                      <a:pos x="16" y="143"/>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72" name="Freeform 164"/>
                <p:cNvSpPr>
                  <a:spLocks/>
                </p:cNvSpPr>
                <p:nvPr>
                  <p:custDataLst>
                    <p:tags r:id="rId29"/>
                  </p:custDataLst>
                </p:nvPr>
              </p:nvSpPr>
              <p:spPr bwMode="auto">
                <a:xfrm>
                  <a:off x="4985707" y="2963842"/>
                  <a:ext cx="91148" cy="73025"/>
                </a:xfrm>
                <a:custGeom>
                  <a:avLst/>
                  <a:gdLst/>
                  <a:ahLst/>
                  <a:cxnLst>
                    <a:cxn ang="0">
                      <a:pos x="72" y="72"/>
                    </a:cxn>
                    <a:cxn ang="0">
                      <a:pos x="58" y="72"/>
                    </a:cxn>
                    <a:cxn ang="0">
                      <a:pos x="29" y="72"/>
                    </a:cxn>
                    <a:cxn ang="0">
                      <a:pos x="29" y="56"/>
                    </a:cxn>
                    <a:cxn ang="0">
                      <a:pos x="0" y="56"/>
                    </a:cxn>
                    <a:cxn ang="0">
                      <a:pos x="0" y="29"/>
                    </a:cxn>
                    <a:cxn ang="0">
                      <a:pos x="0" y="14"/>
                    </a:cxn>
                    <a:cxn ang="0">
                      <a:pos x="14" y="14"/>
                    </a:cxn>
                    <a:cxn ang="0">
                      <a:pos x="14" y="0"/>
                    </a:cxn>
                    <a:cxn ang="0">
                      <a:pos x="29" y="14"/>
                    </a:cxn>
                    <a:cxn ang="0">
                      <a:pos x="43" y="0"/>
                    </a:cxn>
                    <a:cxn ang="0">
                      <a:pos x="58" y="14"/>
                    </a:cxn>
                    <a:cxn ang="0">
                      <a:pos x="72" y="14"/>
                    </a:cxn>
                    <a:cxn ang="0">
                      <a:pos x="72" y="29"/>
                    </a:cxn>
                    <a:cxn ang="0">
                      <a:pos x="72" y="43"/>
                    </a:cxn>
                    <a:cxn ang="0">
                      <a:pos x="72" y="56"/>
                    </a:cxn>
                    <a:cxn ang="0">
                      <a:pos x="72" y="72"/>
                    </a:cxn>
                    <a:cxn ang="0">
                      <a:pos x="58" y="72"/>
                    </a:cxn>
                    <a:cxn ang="0">
                      <a:pos x="72" y="72"/>
                    </a:cxn>
                    <a:cxn ang="0">
                      <a:pos x="72" y="72"/>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3" name="Freeform 165"/>
                <p:cNvSpPr>
                  <a:spLocks/>
                </p:cNvSpPr>
                <p:nvPr>
                  <p:custDataLst>
                    <p:tags r:id="rId30"/>
                  </p:custDataLst>
                </p:nvPr>
              </p:nvSpPr>
              <p:spPr bwMode="auto">
                <a:xfrm>
                  <a:off x="4985707" y="2963842"/>
                  <a:ext cx="91148" cy="73025"/>
                </a:xfrm>
                <a:custGeom>
                  <a:avLst/>
                  <a:gdLst/>
                  <a:ahLst/>
                  <a:cxnLst>
                    <a:cxn ang="0">
                      <a:pos x="72" y="72"/>
                    </a:cxn>
                    <a:cxn ang="0">
                      <a:pos x="58" y="72"/>
                    </a:cxn>
                    <a:cxn ang="0">
                      <a:pos x="29" y="72"/>
                    </a:cxn>
                    <a:cxn ang="0">
                      <a:pos x="29" y="56"/>
                    </a:cxn>
                    <a:cxn ang="0">
                      <a:pos x="0" y="56"/>
                    </a:cxn>
                    <a:cxn ang="0">
                      <a:pos x="0" y="29"/>
                    </a:cxn>
                    <a:cxn ang="0">
                      <a:pos x="0" y="14"/>
                    </a:cxn>
                    <a:cxn ang="0">
                      <a:pos x="14" y="14"/>
                    </a:cxn>
                    <a:cxn ang="0">
                      <a:pos x="14" y="0"/>
                    </a:cxn>
                    <a:cxn ang="0">
                      <a:pos x="29" y="14"/>
                    </a:cxn>
                    <a:cxn ang="0">
                      <a:pos x="43" y="0"/>
                    </a:cxn>
                    <a:cxn ang="0">
                      <a:pos x="58" y="14"/>
                    </a:cxn>
                    <a:cxn ang="0">
                      <a:pos x="72" y="14"/>
                    </a:cxn>
                    <a:cxn ang="0">
                      <a:pos x="72" y="29"/>
                    </a:cxn>
                    <a:cxn ang="0">
                      <a:pos x="72" y="43"/>
                    </a:cxn>
                    <a:cxn ang="0">
                      <a:pos x="72" y="56"/>
                    </a:cxn>
                    <a:cxn ang="0">
                      <a:pos x="72" y="72"/>
                    </a:cxn>
                    <a:cxn ang="0">
                      <a:pos x="58" y="72"/>
                    </a:cxn>
                    <a:cxn ang="0">
                      <a:pos x="72" y="72"/>
                    </a:cxn>
                    <a:cxn ang="0">
                      <a:pos x="72" y="72"/>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74" name="Freeform 166"/>
                <p:cNvSpPr>
                  <a:spLocks/>
                </p:cNvSpPr>
                <p:nvPr>
                  <p:custDataLst>
                    <p:tags r:id="rId31"/>
                  </p:custDataLst>
                </p:nvPr>
              </p:nvSpPr>
              <p:spPr bwMode="auto">
                <a:xfrm>
                  <a:off x="5107811" y="2884467"/>
                  <a:ext cx="184018" cy="182562"/>
                </a:xfrm>
                <a:custGeom>
                  <a:avLst/>
                  <a:gdLst/>
                  <a:ahLst/>
                  <a:cxnLst>
                    <a:cxn ang="0">
                      <a:pos x="72" y="173"/>
                    </a:cxn>
                    <a:cxn ang="0">
                      <a:pos x="43" y="159"/>
                    </a:cxn>
                    <a:cxn ang="0">
                      <a:pos x="58" y="159"/>
                    </a:cxn>
                    <a:cxn ang="0">
                      <a:pos x="58" y="144"/>
                    </a:cxn>
                    <a:cxn ang="0">
                      <a:pos x="43" y="144"/>
                    </a:cxn>
                    <a:cxn ang="0">
                      <a:pos x="14" y="144"/>
                    </a:cxn>
                    <a:cxn ang="0">
                      <a:pos x="0" y="130"/>
                    </a:cxn>
                    <a:cxn ang="0">
                      <a:pos x="0" y="117"/>
                    </a:cxn>
                    <a:cxn ang="0">
                      <a:pos x="14" y="103"/>
                    </a:cxn>
                    <a:cxn ang="0">
                      <a:pos x="0" y="88"/>
                    </a:cxn>
                    <a:cxn ang="0">
                      <a:pos x="0" y="72"/>
                    </a:cxn>
                    <a:cxn ang="0">
                      <a:pos x="14" y="59"/>
                    </a:cxn>
                    <a:cxn ang="0">
                      <a:pos x="29" y="59"/>
                    </a:cxn>
                    <a:cxn ang="0">
                      <a:pos x="43" y="43"/>
                    </a:cxn>
                    <a:cxn ang="0">
                      <a:pos x="43" y="30"/>
                    </a:cxn>
                    <a:cxn ang="0">
                      <a:pos x="58" y="30"/>
                    </a:cxn>
                    <a:cxn ang="0">
                      <a:pos x="58" y="43"/>
                    </a:cxn>
                    <a:cxn ang="0">
                      <a:pos x="43" y="59"/>
                    </a:cxn>
                    <a:cxn ang="0">
                      <a:pos x="58" y="72"/>
                    </a:cxn>
                    <a:cxn ang="0">
                      <a:pos x="72" y="72"/>
                    </a:cxn>
                    <a:cxn ang="0">
                      <a:pos x="72" y="59"/>
                    </a:cxn>
                    <a:cxn ang="0">
                      <a:pos x="72" y="43"/>
                    </a:cxn>
                    <a:cxn ang="0">
                      <a:pos x="85" y="43"/>
                    </a:cxn>
                    <a:cxn ang="0">
                      <a:pos x="101" y="43"/>
                    </a:cxn>
                    <a:cxn ang="0">
                      <a:pos x="114" y="30"/>
                    </a:cxn>
                    <a:cxn ang="0">
                      <a:pos x="101" y="16"/>
                    </a:cxn>
                    <a:cxn ang="0">
                      <a:pos x="85" y="16"/>
                    </a:cxn>
                    <a:cxn ang="0">
                      <a:pos x="101" y="0"/>
                    </a:cxn>
                    <a:cxn ang="0">
                      <a:pos x="114" y="0"/>
                    </a:cxn>
                    <a:cxn ang="0">
                      <a:pos x="143" y="0"/>
                    </a:cxn>
                    <a:cxn ang="0">
                      <a:pos x="130" y="16"/>
                    </a:cxn>
                    <a:cxn ang="0">
                      <a:pos x="143" y="16"/>
                    </a:cxn>
                    <a:cxn ang="0">
                      <a:pos x="130" y="30"/>
                    </a:cxn>
                    <a:cxn ang="0">
                      <a:pos x="143" y="59"/>
                    </a:cxn>
                    <a:cxn ang="0">
                      <a:pos x="130" y="72"/>
                    </a:cxn>
                    <a:cxn ang="0">
                      <a:pos x="101" y="103"/>
                    </a:cxn>
                    <a:cxn ang="0">
                      <a:pos x="114" y="117"/>
                    </a:cxn>
                    <a:cxn ang="0">
                      <a:pos x="101" y="144"/>
                    </a:cxn>
                    <a:cxn ang="0">
                      <a:pos x="85" y="144"/>
                    </a:cxn>
                    <a:cxn ang="0">
                      <a:pos x="72" y="159"/>
                    </a:cxn>
                    <a:cxn ang="0">
                      <a:pos x="85" y="173"/>
                    </a:cxn>
                    <a:cxn ang="0">
                      <a:pos x="72" y="173"/>
                    </a:cxn>
                    <a:cxn ang="0">
                      <a:pos x="72" y="173"/>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5" name="Freeform 167"/>
                <p:cNvSpPr>
                  <a:spLocks/>
                </p:cNvSpPr>
                <p:nvPr>
                  <p:custDataLst>
                    <p:tags r:id="rId32"/>
                  </p:custDataLst>
                </p:nvPr>
              </p:nvSpPr>
              <p:spPr bwMode="auto">
                <a:xfrm>
                  <a:off x="5107811" y="2884467"/>
                  <a:ext cx="184018" cy="182562"/>
                </a:xfrm>
                <a:custGeom>
                  <a:avLst/>
                  <a:gdLst/>
                  <a:ahLst/>
                  <a:cxnLst>
                    <a:cxn ang="0">
                      <a:pos x="72" y="173"/>
                    </a:cxn>
                    <a:cxn ang="0">
                      <a:pos x="43" y="159"/>
                    </a:cxn>
                    <a:cxn ang="0">
                      <a:pos x="58" y="159"/>
                    </a:cxn>
                    <a:cxn ang="0">
                      <a:pos x="58" y="144"/>
                    </a:cxn>
                    <a:cxn ang="0">
                      <a:pos x="43" y="144"/>
                    </a:cxn>
                    <a:cxn ang="0">
                      <a:pos x="14" y="144"/>
                    </a:cxn>
                    <a:cxn ang="0">
                      <a:pos x="0" y="130"/>
                    </a:cxn>
                    <a:cxn ang="0">
                      <a:pos x="0" y="117"/>
                    </a:cxn>
                    <a:cxn ang="0">
                      <a:pos x="14" y="103"/>
                    </a:cxn>
                    <a:cxn ang="0">
                      <a:pos x="0" y="88"/>
                    </a:cxn>
                    <a:cxn ang="0">
                      <a:pos x="0" y="72"/>
                    </a:cxn>
                    <a:cxn ang="0">
                      <a:pos x="14" y="59"/>
                    </a:cxn>
                    <a:cxn ang="0">
                      <a:pos x="29" y="59"/>
                    </a:cxn>
                    <a:cxn ang="0">
                      <a:pos x="43" y="43"/>
                    </a:cxn>
                    <a:cxn ang="0">
                      <a:pos x="43" y="30"/>
                    </a:cxn>
                    <a:cxn ang="0">
                      <a:pos x="58" y="30"/>
                    </a:cxn>
                    <a:cxn ang="0">
                      <a:pos x="58" y="43"/>
                    </a:cxn>
                    <a:cxn ang="0">
                      <a:pos x="43" y="59"/>
                    </a:cxn>
                    <a:cxn ang="0">
                      <a:pos x="58" y="72"/>
                    </a:cxn>
                    <a:cxn ang="0">
                      <a:pos x="72" y="72"/>
                    </a:cxn>
                    <a:cxn ang="0">
                      <a:pos x="72" y="59"/>
                    </a:cxn>
                    <a:cxn ang="0">
                      <a:pos x="72" y="43"/>
                    </a:cxn>
                    <a:cxn ang="0">
                      <a:pos x="85" y="43"/>
                    </a:cxn>
                    <a:cxn ang="0">
                      <a:pos x="101" y="43"/>
                    </a:cxn>
                    <a:cxn ang="0">
                      <a:pos x="114" y="30"/>
                    </a:cxn>
                    <a:cxn ang="0">
                      <a:pos x="101" y="16"/>
                    </a:cxn>
                    <a:cxn ang="0">
                      <a:pos x="85" y="16"/>
                    </a:cxn>
                    <a:cxn ang="0">
                      <a:pos x="101" y="0"/>
                    </a:cxn>
                    <a:cxn ang="0">
                      <a:pos x="114" y="0"/>
                    </a:cxn>
                    <a:cxn ang="0">
                      <a:pos x="143" y="0"/>
                    </a:cxn>
                    <a:cxn ang="0">
                      <a:pos x="130" y="16"/>
                    </a:cxn>
                    <a:cxn ang="0">
                      <a:pos x="143" y="16"/>
                    </a:cxn>
                    <a:cxn ang="0">
                      <a:pos x="130" y="30"/>
                    </a:cxn>
                    <a:cxn ang="0">
                      <a:pos x="143" y="59"/>
                    </a:cxn>
                    <a:cxn ang="0">
                      <a:pos x="130" y="72"/>
                    </a:cxn>
                    <a:cxn ang="0">
                      <a:pos x="101" y="103"/>
                    </a:cxn>
                    <a:cxn ang="0">
                      <a:pos x="114" y="117"/>
                    </a:cxn>
                    <a:cxn ang="0">
                      <a:pos x="101" y="144"/>
                    </a:cxn>
                    <a:cxn ang="0">
                      <a:pos x="85" y="144"/>
                    </a:cxn>
                    <a:cxn ang="0">
                      <a:pos x="72" y="159"/>
                    </a:cxn>
                    <a:cxn ang="0">
                      <a:pos x="85" y="173"/>
                    </a:cxn>
                    <a:cxn ang="0">
                      <a:pos x="72" y="173"/>
                    </a:cxn>
                    <a:cxn ang="0">
                      <a:pos x="72" y="173"/>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76" name="Freeform 168"/>
                <p:cNvSpPr>
                  <a:spLocks/>
                </p:cNvSpPr>
                <p:nvPr>
                  <p:custDataLst>
                    <p:tags r:id="rId33"/>
                  </p:custDataLst>
                </p:nvPr>
              </p:nvSpPr>
              <p:spPr bwMode="auto">
                <a:xfrm>
                  <a:off x="5087174" y="3081317"/>
                  <a:ext cx="73952" cy="47625"/>
                </a:xfrm>
                <a:custGeom>
                  <a:avLst/>
                  <a:gdLst/>
                  <a:ahLst/>
                  <a:cxnLst>
                    <a:cxn ang="0">
                      <a:pos x="45" y="44"/>
                    </a:cxn>
                    <a:cxn ang="0">
                      <a:pos x="30" y="44"/>
                    </a:cxn>
                    <a:cxn ang="0">
                      <a:pos x="16" y="29"/>
                    </a:cxn>
                    <a:cxn ang="0">
                      <a:pos x="0" y="15"/>
                    </a:cxn>
                    <a:cxn ang="0">
                      <a:pos x="0" y="0"/>
                    </a:cxn>
                    <a:cxn ang="0">
                      <a:pos x="16" y="0"/>
                    </a:cxn>
                    <a:cxn ang="0">
                      <a:pos x="30" y="0"/>
                    </a:cxn>
                    <a:cxn ang="0">
                      <a:pos x="30" y="15"/>
                    </a:cxn>
                    <a:cxn ang="0">
                      <a:pos x="45" y="15"/>
                    </a:cxn>
                    <a:cxn ang="0">
                      <a:pos x="59" y="29"/>
                    </a:cxn>
                    <a:cxn ang="0">
                      <a:pos x="59" y="44"/>
                    </a:cxn>
                    <a:cxn ang="0">
                      <a:pos x="45" y="44"/>
                    </a:cxn>
                    <a:cxn ang="0">
                      <a:pos x="45" y="44"/>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7" name="Freeform 169"/>
                <p:cNvSpPr>
                  <a:spLocks/>
                </p:cNvSpPr>
                <p:nvPr>
                  <p:custDataLst>
                    <p:tags r:id="rId34"/>
                  </p:custDataLst>
                </p:nvPr>
              </p:nvSpPr>
              <p:spPr bwMode="auto">
                <a:xfrm>
                  <a:off x="5087174" y="3081317"/>
                  <a:ext cx="73952" cy="47625"/>
                </a:xfrm>
                <a:custGeom>
                  <a:avLst/>
                  <a:gdLst/>
                  <a:ahLst/>
                  <a:cxnLst>
                    <a:cxn ang="0">
                      <a:pos x="45" y="44"/>
                    </a:cxn>
                    <a:cxn ang="0">
                      <a:pos x="30" y="44"/>
                    </a:cxn>
                    <a:cxn ang="0">
                      <a:pos x="16" y="29"/>
                    </a:cxn>
                    <a:cxn ang="0">
                      <a:pos x="0" y="15"/>
                    </a:cxn>
                    <a:cxn ang="0">
                      <a:pos x="0" y="0"/>
                    </a:cxn>
                    <a:cxn ang="0">
                      <a:pos x="16" y="0"/>
                    </a:cxn>
                    <a:cxn ang="0">
                      <a:pos x="30" y="0"/>
                    </a:cxn>
                    <a:cxn ang="0">
                      <a:pos x="30" y="15"/>
                    </a:cxn>
                    <a:cxn ang="0">
                      <a:pos x="45" y="15"/>
                    </a:cxn>
                    <a:cxn ang="0">
                      <a:pos x="59" y="29"/>
                    </a:cxn>
                    <a:cxn ang="0">
                      <a:pos x="59" y="44"/>
                    </a:cxn>
                    <a:cxn ang="0">
                      <a:pos x="45" y="44"/>
                    </a:cxn>
                    <a:cxn ang="0">
                      <a:pos x="45" y="44"/>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78" name="Freeform 170"/>
                <p:cNvSpPr>
                  <a:spLocks/>
                </p:cNvSpPr>
                <p:nvPr>
                  <p:custDataLst>
                    <p:tags r:id="rId35"/>
                  </p:custDataLst>
                </p:nvPr>
              </p:nvSpPr>
              <p:spPr bwMode="auto">
                <a:xfrm>
                  <a:off x="5181763" y="3081317"/>
                  <a:ext cx="37835" cy="47625"/>
                </a:xfrm>
                <a:custGeom>
                  <a:avLst/>
                  <a:gdLst/>
                  <a:ahLst/>
                  <a:cxnLst>
                    <a:cxn ang="0">
                      <a:pos x="0" y="29"/>
                    </a:cxn>
                    <a:cxn ang="0">
                      <a:pos x="0" y="15"/>
                    </a:cxn>
                    <a:cxn ang="0">
                      <a:pos x="0" y="0"/>
                    </a:cxn>
                    <a:cxn ang="0">
                      <a:pos x="14" y="15"/>
                    </a:cxn>
                    <a:cxn ang="0">
                      <a:pos x="27" y="15"/>
                    </a:cxn>
                    <a:cxn ang="0">
                      <a:pos x="27" y="29"/>
                    </a:cxn>
                    <a:cxn ang="0">
                      <a:pos x="14" y="29"/>
                    </a:cxn>
                    <a:cxn ang="0">
                      <a:pos x="14" y="44"/>
                    </a:cxn>
                    <a:cxn ang="0">
                      <a:pos x="0" y="29"/>
                    </a:cxn>
                    <a:cxn ang="0">
                      <a:pos x="0" y="29"/>
                    </a:cxn>
                    <a:cxn ang="0">
                      <a:pos x="0" y="2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79" name="Freeform 171"/>
                <p:cNvSpPr>
                  <a:spLocks/>
                </p:cNvSpPr>
                <p:nvPr>
                  <p:custDataLst>
                    <p:tags r:id="rId36"/>
                  </p:custDataLst>
                </p:nvPr>
              </p:nvSpPr>
              <p:spPr bwMode="auto">
                <a:xfrm>
                  <a:off x="5181763" y="3081317"/>
                  <a:ext cx="37835" cy="47625"/>
                </a:xfrm>
                <a:custGeom>
                  <a:avLst/>
                  <a:gdLst/>
                  <a:ahLst/>
                  <a:cxnLst>
                    <a:cxn ang="0">
                      <a:pos x="0" y="29"/>
                    </a:cxn>
                    <a:cxn ang="0">
                      <a:pos x="0" y="15"/>
                    </a:cxn>
                    <a:cxn ang="0">
                      <a:pos x="0" y="0"/>
                    </a:cxn>
                    <a:cxn ang="0">
                      <a:pos x="14" y="15"/>
                    </a:cxn>
                    <a:cxn ang="0">
                      <a:pos x="27" y="15"/>
                    </a:cxn>
                    <a:cxn ang="0">
                      <a:pos x="27" y="29"/>
                    </a:cxn>
                    <a:cxn ang="0">
                      <a:pos x="14" y="29"/>
                    </a:cxn>
                    <a:cxn ang="0">
                      <a:pos x="14" y="44"/>
                    </a:cxn>
                    <a:cxn ang="0">
                      <a:pos x="0" y="29"/>
                    </a:cxn>
                    <a:cxn ang="0">
                      <a:pos x="0" y="2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80" name="Freeform 177"/>
                <p:cNvSpPr>
                  <a:spLocks/>
                </p:cNvSpPr>
                <p:nvPr>
                  <p:custDataLst>
                    <p:tags r:id="rId37"/>
                  </p:custDataLst>
                </p:nvPr>
              </p:nvSpPr>
              <p:spPr bwMode="auto">
                <a:xfrm>
                  <a:off x="5247115" y="822304"/>
                  <a:ext cx="1272646" cy="2201863"/>
                </a:xfrm>
                <a:custGeom>
                  <a:avLst/>
                  <a:gdLst/>
                  <a:ahLst/>
                  <a:cxnLst>
                    <a:cxn ang="0">
                      <a:pos x="965" y="376"/>
                    </a:cxn>
                    <a:cxn ang="0">
                      <a:pos x="965" y="273"/>
                    </a:cxn>
                    <a:cxn ang="0">
                      <a:pos x="921" y="215"/>
                    </a:cxn>
                    <a:cxn ang="0">
                      <a:pos x="936" y="144"/>
                    </a:cxn>
                    <a:cxn ang="0">
                      <a:pos x="851" y="72"/>
                    </a:cxn>
                    <a:cxn ang="0">
                      <a:pos x="779" y="16"/>
                    </a:cxn>
                    <a:cxn ang="0">
                      <a:pos x="721" y="58"/>
                    </a:cxn>
                    <a:cxn ang="0">
                      <a:pos x="647" y="87"/>
                    </a:cxn>
                    <a:cxn ang="0">
                      <a:pos x="578" y="130"/>
                    </a:cxn>
                    <a:cxn ang="0">
                      <a:pos x="490" y="215"/>
                    </a:cxn>
                    <a:cxn ang="0">
                      <a:pos x="490" y="303"/>
                    </a:cxn>
                    <a:cxn ang="0">
                      <a:pos x="417" y="403"/>
                    </a:cxn>
                    <a:cxn ang="0">
                      <a:pos x="329" y="502"/>
                    </a:cxn>
                    <a:cxn ang="0">
                      <a:pos x="316" y="619"/>
                    </a:cxn>
                    <a:cxn ang="0">
                      <a:pos x="289" y="704"/>
                    </a:cxn>
                    <a:cxn ang="0">
                      <a:pos x="230" y="762"/>
                    </a:cxn>
                    <a:cxn ang="0">
                      <a:pos x="159" y="791"/>
                    </a:cxn>
                    <a:cxn ang="0">
                      <a:pos x="130" y="919"/>
                    </a:cxn>
                    <a:cxn ang="0">
                      <a:pos x="143" y="1020"/>
                    </a:cxn>
                    <a:cxn ang="0">
                      <a:pos x="159" y="1105"/>
                    </a:cxn>
                    <a:cxn ang="0">
                      <a:pos x="114" y="1208"/>
                    </a:cxn>
                    <a:cxn ang="0">
                      <a:pos x="114" y="1350"/>
                    </a:cxn>
                    <a:cxn ang="0">
                      <a:pos x="56" y="1394"/>
                    </a:cxn>
                    <a:cxn ang="0">
                      <a:pos x="42" y="1480"/>
                    </a:cxn>
                    <a:cxn ang="0">
                      <a:pos x="0" y="1466"/>
                    </a:cxn>
                    <a:cxn ang="0">
                      <a:pos x="0" y="1565"/>
                    </a:cxn>
                    <a:cxn ang="0">
                      <a:pos x="27" y="1610"/>
                    </a:cxn>
                    <a:cxn ang="0">
                      <a:pos x="27" y="1695"/>
                    </a:cxn>
                    <a:cxn ang="0">
                      <a:pos x="27" y="1796"/>
                    </a:cxn>
                    <a:cxn ang="0">
                      <a:pos x="85" y="1881"/>
                    </a:cxn>
                    <a:cxn ang="0">
                      <a:pos x="58" y="1939"/>
                    </a:cxn>
                    <a:cxn ang="0">
                      <a:pos x="85" y="2011"/>
                    </a:cxn>
                    <a:cxn ang="0">
                      <a:pos x="114" y="2069"/>
                    </a:cxn>
                    <a:cxn ang="0">
                      <a:pos x="201" y="2054"/>
                    </a:cxn>
                    <a:cxn ang="0">
                      <a:pos x="244" y="1982"/>
                    </a:cxn>
                    <a:cxn ang="0">
                      <a:pos x="318" y="1953"/>
                    </a:cxn>
                    <a:cxn ang="0">
                      <a:pos x="374" y="1939"/>
                    </a:cxn>
                    <a:cxn ang="0">
                      <a:pos x="432" y="1825"/>
                    </a:cxn>
                    <a:cxn ang="0">
                      <a:pos x="432" y="1753"/>
                    </a:cxn>
                    <a:cxn ang="0">
                      <a:pos x="461" y="1666"/>
                    </a:cxn>
                    <a:cxn ang="0">
                      <a:pos x="432" y="1581"/>
                    </a:cxn>
                    <a:cxn ang="0">
                      <a:pos x="519" y="1538"/>
                    </a:cxn>
                    <a:cxn ang="0">
                      <a:pos x="578" y="1509"/>
                    </a:cxn>
                    <a:cxn ang="0">
                      <a:pos x="605" y="1437"/>
                    </a:cxn>
                    <a:cxn ang="0">
                      <a:pos x="605" y="1365"/>
                    </a:cxn>
                    <a:cxn ang="0">
                      <a:pos x="578" y="1294"/>
                    </a:cxn>
                    <a:cxn ang="0">
                      <a:pos x="519" y="1235"/>
                    </a:cxn>
                    <a:cxn ang="0">
                      <a:pos x="519" y="1179"/>
                    </a:cxn>
                    <a:cxn ang="0">
                      <a:pos x="519" y="1092"/>
                    </a:cxn>
                    <a:cxn ang="0">
                      <a:pos x="504" y="1007"/>
                    </a:cxn>
                    <a:cxn ang="0">
                      <a:pos x="578" y="962"/>
                    </a:cxn>
                    <a:cxn ang="0">
                      <a:pos x="649" y="890"/>
                    </a:cxn>
                    <a:cxn ang="0">
                      <a:pos x="721" y="848"/>
                    </a:cxn>
                    <a:cxn ang="0">
                      <a:pos x="764" y="776"/>
                    </a:cxn>
                    <a:cxn ang="0">
                      <a:pos x="808" y="690"/>
                    </a:cxn>
                    <a:cxn ang="0">
                      <a:pos x="808" y="590"/>
                    </a:cxn>
                    <a:cxn ang="0">
                      <a:pos x="867" y="531"/>
                    </a:cxn>
                    <a:cxn ang="0">
                      <a:pos x="894" y="475"/>
                    </a:cxn>
                    <a:cxn ang="0">
                      <a:pos x="979" y="475"/>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lnTo>
                        <a:pt x="995" y="460"/>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81" name="Freeform 178"/>
                <p:cNvSpPr>
                  <a:spLocks/>
                </p:cNvSpPr>
                <p:nvPr>
                  <p:custDataLst>
                    <p:tags r:id="rId38"/>
                  </p:custDataLst>
                </p:nvPr>
              </p:nvSpPr>
              <p:spPr bwMode="auto">
                <a:xfrm>
                  <a:off x="6205038" y="612754"/>
                  <a:ext cx="1081749" cy="1663700"/>
                </a:xfrm>
                <a:custGeom>
                  <a:avLst/>
                  <a:gdLst/>
                  <a:ahLst/>
                  <a:cxnLst>
                    <a:cxn ang="0">
                      <a:pos x="462" y="144"/>
                    </a:cxn>
                    <a:cxn ang="0">
                      <a:pos x="475" y="72"/>
                    </a:cxn>
                    <a:cxn ang="0">
                      <a:pos x="390" y="29"/>
                    </a:cxn>
                    <a:cxn ang="0">
                      <a:pos x="345" y="29"/>
                    </a:cxn>
                    <a:cxn ang="0">
                      <a:pos x="287" y="130"/>
                    </a:cxn>
                    <a:cxn ang="0">
                      <a:pos x="274" y="186"/>
                    </a:cxn>
                    <a:cxn ang="0">
                      <a:pos x="217" y="243"/>
                    </a:cxn>
                    <a:cxn ang="0">
                      <a:pos x="130" y="229"/>
                    </a:cxn>
                    <a:cxn ang="0">
                      <a:pos x="72" y="186"/>
                    </a:cxn>
                    <a:cxn ang="0">
                      <a:pos x="14" y="144"/>
                    </a:cxn>
                    <a:cxn ang="0">
                      <a:pos x="58" y="229"/>
                    </a:cxn>
                    <a:cxn ang="0">
                      <a:pos x="101" y="272"/>
                    </a:cxn>
                    <a:cxn ang="0">
                      <a:pos x="173" y="330"/>
                    </a:cxn>
                    <a:cxn ang="0">
                      <a:pos x="186" y="388"/>
                    </a:cxn>
                    <a:cxn ang="0">
                      <a:pos x="202" y="431"/>
                    </a:cxn>
                    <a:cxn ang="0">
                      <a:pos x="217" y="487"/>
                    </a:cxn>
                    <a:cxn ang="0">
                      <a:pos x="217" y="576"/>
                    </a:cxn>
                    <a:cxn ang="0">
                      <a:pos x="245" y="660"/>
                    </a:cxn>
                    <a:cxn ang="0">
                      <a:pos x="303" y="689"/>
                    </a:cxn>
                    <a:cxn ang="0">
                      <a:pos x="316" y="760"/>
                    </a:cxn>
                    <a:cxn ang="0">
                      <a:pos x="316" y="805"/>
                    </a:cxn>
                    <a:cxn ang="0">
                      <a:pos x="258" y="861"/>
                    </a:cxn>
                    <a:cxn ang="0">
                      <a:pos x="202" y="949"/>
                    </a:cxn>
                    <a:cxn ang="0">
                      <a:pos x="173" y="1005"/>
                    </a:cxn>
                    <a:cxn ang="0">
                      <a:pos x="144" y="1034"/>
                    </a:cxn>
                    <a:cxn ang="0">
                      <a:pos x="87" y="1061"/>
                    </a:cxn>
                    <a:cxn ang="0">
                      <a:pos x="58" y="1162"/>
                    </a:cxn>
                    <a:cxn ang="0">
                      <a:pos x="58" y="1236"/>
                    </a:cxn>
                    <a:cxn ang="0">
                      <a:pos x="87" y="1335"/>
                    </a:cxn>
                    <a:cxn ang="0">
                      <a:pos x="58" y="1422"/>
                    </a:cxn>
                    <a:cxn ang="0">
                      <a:pos x="173" y="1480"/>
                    </a:cxn>
                    <a:cxn ang="0">
                      <a:pos x="217" y="1550"/>
                    </a:cxn>
                    <a:cxn ang="0">
                      <a:pos x="303" y="1536"/>
                    </a:cxn>
                    <a:cxn ang="0">
                      <a:pos x="361" y="1521"/>
                    </a:cxn>
                    <a:cxn ang="0">
                      <a:pos x="462" y="1494"/>
                    </a:cxn>
                    <a:cxn ang="0">
                      <a:pos x="491" y="1480"/>
                    </a:cxn>
                    <a:cxn ang="0">
                      <a:pos x="563" y="1435"/>
                    </a:cxn>
                    <a:cxn ang="0">
                      <a:pos x="648" y="1364"/>
                    </a:cxn>
                    <a:cxn ang="0">
                      <a:pos x="706" y="1292"/>
                    </a:cxn>
                    <a:cxn ang="0">
                      <a:pos x="749" y="1236"/>
                    </a:cxn>
                    <a:cxn ang="0">
                      <a:pos x="764" y="1162"/>
                    </a:cxn>
                    <a:cxn ang="0">
                      <a:pos x="807" y="1090"/>
                    </a:cxn>
                    <a:cxn ang="0">
                      <a:pos x="822" y="1005"/>
                    </a:cxn>
                    <a:cxn ang="0">
                      <a:pos x="706" y="949"/>
                    </a:cxn>
                    <a:cxn ang="0">
                      <a:pos x="706" y="920"/>
                    </a:cxn>
                    <a:cxn ang="0">
                      <a:pos x="706" y="861"/>
                    </a:cxn>
                    <a:cxn ang="0">
                      <a:pos x="679" y="819"/>
                    </a:cxn>
                    <a:cxn ang="0">
                      <a:pos x="663" y="760"/>
                    </a:cxn>
                    <a:cxn ang="0">
                      <a:pos x="634" y="731"/>
                    </a:cxn>
                    <a:cxn ang="0">
                      <a:pos x="634" y="675"/>
                    </a:cxn>
                    <a:cxn ang="0">
                      <a:pos x="634" y="603"/>
                    </a:cxn>
                    <a:cxn ang="0">
                      <a:pos x="563" y="516"/>
                    </a:cxn>
                    <a:cxn ang="0">
                      <a:pos x="534" y="431"/>
                    </a:cxn>
                    <a:cxn ang="0">
                      <a:pos x="547" y="359"/>
                    </a:cxn>
                    <a:cxn ang="0">
                      <a:pos x="491" y="272"/>
                    </a:cxn>
                    <a:cxn ang="0">
                      <a:pos x="446" y="216"/>
                    </a:cxn>
                    <a:cxn ang="0">
                      <a:pos x="475" y="171"/>
                    </a:cxn>
                  </a:cxnLst>
                  <a:rect l="0" t="0" r="r" b="b"/>
                  <a:pathLst>
                    <a:path w="852" h="1565">
                      <a:moveTo>
                        <a:pt x="475" y="171"/>
                      </a:moveTo>
                      <a:lnTo>
                        <a:pt x="462" y="171"/>
                      </a:lnTo>
                      <a:lnTo>
                        <a:pt x="462" y="157"/>
                      </a:lnTo>
                      <a:lnTo>
                        <a:pt x="462" y="144"/>
                      </a:lnTo>
                      <a:lnTo>
                        <a:pt x="462" y="130"/>
                      </a:lnTo>
                      <a:lnTo>
                        <a:pt x="462" y="101"/>
                      </a:lnTo>
                      <a:lnTo>
                        <a:pt x="475" y="86"/>
                      </a:lnTo>
                      <a:lnTo>
                        <a:pt x="475" y="72"/>
                      </a:lnTo>
                      <a:lnTo>
                        <a:pt x="462" y="57"/>
                      </a:lnTo>
                      <a:lnTo>
                        <a:pt x="446" y="43"/>
                      </a:lnTo>
                      <a:lnTo>
                        <a:pt x="433" y="43"/>
                      </a:lnTo>
                      <a:lnTo>
                        <a:pt x="390" y="29"/>
                      </a:lnTo>
                      <a:lnTo>
                        <a:pt x="406" y="0"/>
                      </a:lnTo>
                      <a:lnTo>
                        <a:pt x="390" y="0"/>
                      </a:lnTo>
                      <a:lnTo>
                        <a:pt x="376" y="14"/>
                      </a:lnTo>
                      <a:lnTo>
                        <a:pt x="345" y="29"/>
                      </a:lnTo>
                      <a:lnTo>
                        <a:pt x="316" y="29"/>
                      </a:lnTo>
                      <a:lnTo>
                        <a:pt x="303" y="43"/>
                      </a:lnTo>
                      <a:lnTo>
                        <a:pt x="303" y="101"/>
                      </a:lnTo>
                      <a:lnTo>
                        <a:pt x="287" y="130"/>
                      </a:lnTo>
                      <a:lnTo>
                        <a:pt x="287" y="144"/>
                      </a:lnTo>
                      <a:lnTo>
                        <a:pt x="287" y="157"/>
                      </a:lnTo>
                      <a:lnTo>
                        <a:pt x="287" y="171"/>
                      </a:lnTo>
                      <a:lnTo>
                        <a:pt x="274" y="186"/>
                      </a:lnTo>
                      <a:lnTo>
                        <a:pt x="258" y="216"/>
                      </a:lnTo>
                      <a:lnTo>
                        <a:pt x="258" y="229"/>
                      </a:lnTo>
                      <a:lnTo>
                        <a:pt x="245" y="229"/>
                      </a:lnTo>
                      <a:lnTo>
                        <a:pt x="217" y="243"/>
                      </a:lnTo>
                      <a:lnTo>
                        <a:pt x="202" y="216"/>
                      </a:lnTo>
                      <a:lnTo>
                        <a:pt x="186" y="216"/>
                      </a:lnTo>
                      <a:lnTo>
                        <a:pt x="173" y="229"/>
                      </a:lnTo>
                      <a:lnTo>
                        <a:pt x="130" y="229"/>
                      </a:lnTo>
                      <a:lnTo>
                        <a:pt x="117" y="216"/>
                      </a:lnTo>
                      <a:lnTo>
                        <a:pt x="101" y="216"/>
                      </a:lnTo>
                      <a:lnTo>
                        <a:pt x="87" y="216"/>
                      </a:lnTo>
                      <a:lnTo>
                        <a:pt x="72" y="186"/>
                      </a:lnTo>
                      <a:lnTo>
                        <a:pt x="72" y="171"/>
                      </a:lnTo>
                      <a:lnTo>
                        <a:pt x="43" y="157"/>
                      </a:lnTo>
                      <a:lnTo>
                        <a:pt x="29" y="144"/>
                      </a:lnTo>
                      <a:lnTo>
                        <a:pt x="14" y="144"/>
                      </a:lnTo>
                      <a:lnTo>
                        <a:pt x="0" y="171"/>
                      </a:lnTo>
                      <a:lnTo>
                        <a:pt x="0" y="200"/>
                      </a:lnTo>
                      <a:lnTo>
                        <a:pt x="29" y="216"/>
                      </a:lnTo>
                      <a:lnTo>
                        <a:pt x="58" y="229"/>
                      </a:lnTo>
                      <a:lnTo>
                        <a:pt x="58" y="258"/>
                      </a:lnTo>
                      <a:lnTo>
                        <a:pt x="72" y="258"/>
                      </a:lnTo>
                      <a:lnTo>
                        <a:pt x="87" y="272"/>
                      </a:lnTo>
                      <a:lnTo>
                        <a:pt x="101" y="272"/>
                      </a:lnTo>
                      <a:lnTo>
                        <a:pt x="130" y="287"/>
                      </a:lnTo>
                      <a:lnTo>
                        <a:pt x="159" y="301"/>
                      </a:lnTo>
                      <a:lnTo>
                        <a:pt x="173" y="301"/>
                      </a:lnTo>
                      <a:lnTo>
                        <a:pt x="173" y="330"/>
                      </a:lnTo>
                      <a:lnTo>
                        <a:pt x="186" y="344"/>
                      </a:lnTo>
                      <a:lnTo>
                        <a:pt x="186" y="359"/>
                      </a:lnTo>
                      <a:lnTo>
                        <a:pt x="186" y="373"/>
                      </a:lnTo>
                      <a:lnTo>
                        <a:pt x="186" y="388"/>
                      </a:lnTo>
                      <a:lnTo>
                        <a:pt x="186" y="402"/>
                      </a:lnTo>
                      <a:lnTo>
                        <a:pt x="173" y="415"/>
                      </a:lnTo>
                      <a:lnTo>
                        <a:pt x="202" y="415"/>
                      </a:lnTo>
                      <a:lnTo>
                        <a:pt x="202" y="431"/>
                      </a:lnTo>
                      <a:lnTo>
                        <a:pt x="202" y="444"/>
                      </a:lnTo>
                      <a:lnTo>
                        <a:pt x="202" y="458"/>
                      </a:lnTo>
                      <a:lnTo>
                        <a:pt x="217" y="473"/>
                      </a:lnTo>
                      <a:lnTo>
                        <a:pt x="217" y="487"/>
                      </a:lnTo>
                      <a:lnTo>
                        <a:pt x="229" y="503"/>
                      </a:lnTo>
                      <a:lnTo>
                        <a:pt x="217" y="516"/>
                      </a:lnTo>
                      <a:lnTo>
                        <a:pt x="217" y="545"/>
                      </a:lnTo>
                      <a:lnTo>
                        <a:pt x="217" y="576"/>
                      </a:lnTo>
                      <a:lnTo>
                        <a:pt x="217" y="590"/>
                      </a:lnTo>
                      <a:lnTo>
                        <a:pt x="229" y="617"/>
                      </a:lnTo>
                      <a:lnTo>
                        <a:pt x="245" y="631"/>
                      </a:lnTo>
                      <a:lnTo>
                        <a:pt x="245" y="660"/>
                      </a:lnTo>
                      <a:lnTo>
                        <a:pt x="258" y="660"/>
                      </a:lnTo>
                      <a:lnTo>
                        <a:pt x="274" y="675"/>
                      </a:lnTo>
                      <a:lnTo>
                        <a:pt x="303" y="675"/>
                      </a:lnTo>
                      <a:lnTo>
                        <a:pt x="303" y="689"/>
                      </a:lnTo>
                      <a:lnTo>
                        <a:pt x="316" y="702"/>
                      </a:lnTo>
                      <a:lnTo>
                        <a:pt x="316" y="718"/>
                      </a:lnTo>
                      <a:lnTo>
                        <a:pt x="316" y="731"/>
                      </a:lnTo>
                      <a:lnTo>
                        <a:pt x="316" y="760"/>
                      </a:lnTo>
                      <a:lnTo>
                        <a:pt x="316" y="776"/>
                      </a:lnTo>
                      <a:lnTo>
                        <a:pt x="332" y="790"/>
                      </a:lnTo>
                      <a:lnTo>
                        <a:pt x="332" y="805"/>
                      </a:lnTo>
                      <a:lnTo>
                        <a:pt x="316" y="805"/>
                      </a:lnTo>
                      <a:lnTo>
                        <a:pt x="303" y="805"/>
                      </a:lnTo>
                      <a:lnTo>
                        <a:pt x="287" y="805"/>
                      </a:lnTo>
                      <a:lnTo>
                        <a:pt x="287" y="819"/>
                      </a:lnTo>
                      <a:lnTo>
                        <a:pt x="258" y="861"/>
                      </a:lnTo>
                      <a:lnTo>
                        <a:pt x="258" y="875"/>
                      </a:lnTo>
                      <a:lnTo>
                        <a:pt x="245" y="904"/>
                      </a:lnTo>
                      <a:lnTo>
                        <a:pt x="229" y="920"/>
                      </a:lnTo>
                      <a:lnTo>
                        <a:pt x="202" y="949"/>
                      </a:lnTo>
                      <a:lnTo>
                        <a:pt x="202" y="962"/>
                      </a:lnTo>
                      <a:lnTo>
                        <a:pt x="202" y="976"/>
                      </a:lnTo>
                      <a:lnTo>
                        <a:pt x="173" y="991"/>
                      </a:lnTo>
                      <a:lnTo>
                        <a:pt x="173" y="1005"/>
                      </a:lnTo>
                      <a:lnTo>
                        <a:pt x="173" y="991"/>
                      </a:lnTo>
                      <a:lnTo>
                        <a:pt x="159" y="1005"/>
                      </a:lnTo>
                      <a:lnTo>
                        <a:pt x="144" y="1018"/>
                      </a:lnTo>
                      <a:lnTo>
                        <a:pt x="144" y="1034"/>
                      </a:lnTo>
                      <a:lnTo>
                        <a:pt x="144" y="1061"/>
                      </a:lnTo>
                      <a:lnTo>
                        <a:pt x="117" y="1077"/>
                      </a:lnTo>
                      <a:lnTo>
                        <a:pt x="101" y="1061"/>
                      </a:lnTo>
                      <a:lnTo>
                        <a:pt x="87" y="1061"/>
                      </a:lnTo>
                      <a:lnTo>
                        <a:pt x="87" y="1090"/>
                      </a:lnTo>
                      <a:lnTo>
                        <a:pt x="58" y="1119"/>
                      </a:lnTo>
                      <a:lnTo>
                        <a:pt x="58" y="1148"/>
                      </a:lnTo>
                      <a:lnTo>
                        <a:pt x="58" y="1162"/>
                      </a:lnTo>
                      <a:lnTo>
                        <a:pt x="72" y="1177"/>
                      </a:lnTo>
                      <a:lnTo>
                        <a:pt x="72" y="1207"/>
                      </a:lnTo>
                      <a:lnTo>
                        <a:pt x="58" y="1220"/>
                      </a:lnTo>
                      <a:lnTo>
                        <a:pt x="58" y="1236"/>
                      </a:lnTo>
                      <a:lnTo>
                        <a:pt x="87" y="1249"/>
                      </a:lnTo>
                      <a:lnTo>
                        <a:pt x="87" y="1263"/>
                      </a:lnTo>
                      <a:lnTo>
                        <a:pt x="87" y="1292"/>
                      </a:lnTo>
                      <a:lnTo>
                        <a:pt x="87" y="1335"/>
                      </a:lnTo>
                      <a:lnTo>
                        <a:pt x="87" y="1364"/>
                      </a:lnTo>
                      <a:lnTo>
                        <a:pt x="58" y="1379"/>
                      </a:lnTo>
                      <a:lnTo>
                        <a:pt x="58" y="1408"/>
                      </a:lnTo>
                      <a:lnTo>
                        <a:pt x="58" y="1422"/>
                      </a:lnTo>
                      <a:lnTo>
                        <a:pt x="87" y="1464"/>
                      </a:lnTo>
                      <a:lnTo>
                        <a:pt x="130" y="1464"/>
                      </a:lnTo>
                      <a:lnTo>
                        <a:pt x="144" y="1480"/>
                      </a:lnTo>
                      <a:lnTo>
                        <a:pt x="173" y="1480"/>
                      </a:lnTo>
                      <a:lnTo>
                        <a:pt x="186" y="1480"/>
                      </a:lnTo>
                      <a:lnTo>
                        <a:pt x="202" y="1509"/>
                      </a:lnTo>
                      <a:lnTo>
                        <a:pt x="202" y="1536"/>
                      </a:lnTo>
                      <a:lnTo>
                        <a:pt x="217" y="1550"/>
                      </a:lnTo>
                      <a:lnTo>
                        <a:pt x="229" y="1565"/>
                      </a:lnTo>
                      <a:lnTo>
                        <a:pt x="274" y="1565"/>
                      </a:lnTo>
                      <a:lnTo>
                        <a:pt x="287" y="1565"/>
                      </a:lnTo>
                      <a:lnTo>
                        <a:pt x="303" y="1536"/>
                      </a:lnTo>
                      <a:lnTo>
                        <a:pt x="316" y="1521"/>
                      </a:lnTo>
                      <a:lnTo>
                        <a:pt x="332" y="1550"/>
                      </a:lnTo>
                      <a:lnTo>
                        <a:pt x="345" y="1536"/>
                      </a:lnTo>
                      <a:lnTo>
                        <a:pt x="361" y="1521"/>
                      </a:lnTo>
                      <a:lnTo>
                        <a:pt x="390" y="1509"/>
                      </a:lnTo>
                      <a:lnTo>
                        <a:pt x="433" y="1494"/>
                      </a:lnTo>
                      <a:lnTo>
                        <a:pt x="446" y="1494"/>
                      </a:lnTo>
                      <a:lnTo>
                        <a:pt x="462" y="1494"/>
                      </a:lnTo>
                      <a:lnTo>
                        <a:pt x="462" y="1480"/>
                      </a:lnTo>
                      <a:lnTo>
                        <a:pt x="462" y="1464"/>
                      </a:lnTo>
                      <a:lnTo>
                        <a:pt x="475" y="1451"/>
                      </a:lnTo>
                      <a:lnTo>
                        <a:pt x="491" y="1480"/>
                      </a:lnTo>
                      <a:lnTo>
                        <a:pt x="504" y="1464"/>
                      </a:lnTo>
                      <a:lnTo>
                        <a:pt x="534" y="1451"/>
                      </a:lnTo>
                      <a:lnTo>
                        <a:pt x="547" y="1422"/>
                      </a:lnTo>
                      <a:lnTo>
                        <a:pt x="563" y="1435"/>
                      </a:lnTo>
                      <a:lnTo>
                        <a:pt x="592" y="1435"/>
                      </a:lnTo>
                      <a:lnTo>
                        <a:pt x="605" y="1435"/>
                      </a:lnTo>
                      <a:lnTo>
                        <a:pt x="621" y="1422"/>
                      </a:lnTo>
                      <a:lnTo>
                        <a:pt x="648" y="1364"/>
                      </a:lnTo>
                      <a:lnTo>
                        <a:pt x="663" y="1350"/>
                      </a:lnTo>
                      <a:lnTo>
                        <a:pt x="679" y="1321"/>
                      </a:lnTo>
                      <a:lnTo>
                        <a:pt x="693" y="1305"/>
                      </a:lnTo>
                      <a:lnTo>
                        <a:pt x="706" y="1292"/>
                      </a:lnTo>
                      <a:lnTo>
                        <a:pt x="722" y="1263"/>
                      </a:lnTo>
                      <a:lnTo>
                        <a:pt x="735" y="1220"/>
                      </a:lnTo>
                      <a:lnTo>
                        <a:pt x="735" y="1236"/>
                      </a:lnTo>
                      <a:lnTo>
                        <a:pt x="749" y="1236"/>
                      </a:lnTo>
                      <a:lnTo>
                        <a:pt x="764" y="1220"/>
                      </a:lnTo>
                      <a:lnTo>
                        <a:pt x="749" y="1207"/>
                      </a:lnTo>
                      <a:lnTo>
                        <a:pt x="764" y="1191"/>
                      </a:lnTo>
                      <a:lnTo>
                        <a:pt x="764" y="1162"/>
                      </a:lnTo>
                      <a:lnTo>
                        <a:pt x="778" y="1148"/>
                      </a:lnTo>
                      <a:lnTo>
                        <a:pt x="793" y="1135"/>
                      </a:lnTo>
                      <a:lnTo>
                        <a:pt x="793" y="1119"/>
                      </a:lnTo>
                      <a:lnTo>
                        <a:pt x="807" y="1090"/>
                      </a:lnTo>
                      <a:lnTo>
                        <a:pt x="836" y="1077"/>
                      </a:lnTo>
                      <a:lnTo>
                        <a:pt x="852" y="1048"/>
                      </a:lnTo>
                      <a:lnTo>
                        <a:pt x="836" y="1018"/>
                      </a:lnTo>
                      <a:lnTo>
                        <a:pt x="822" y="1005"/>
                      </a:lnTo>
                      <a:lnTo>
                        <a:pt x="778" y="991"/>
                      </a:lnTo>
                      <a:lnTo>
                        <a:pt x="735" y="976"/>
                      </a:lnTo>
                      <a:lnTo>
                        <a:pt x="722" y="962"/>
                      </a:lnTo>
                      <a:lnTo>
                        <a:pt x="706" y="949"/>
                      </a:lnTo>
                      <a:lnTo>
                        <a:pt x="693" y="949"/>
                      </a:lnTo>
                      <a:lnTo>
                        <a:pt x="679" y="920"/>
                      </a:lnTo>
                      <a:lnTo>
                        <a:pt x="693" y="920"/>
                      </a:lnTo>
                      <a:lnTo>
                        <a:pt x="706" y="920"/>
                      </a:lnTo>
                      <a:lnTo>
                        <a:pt x="722" y="904"/>
                      </a:lnTo>
                      <a:lnTo>
                        <a:pt x="722" y="890"/>
                      </a:lnTo>
                      <a:lnTo>
                        <a:pt x="722" y="875"/>
                      </a:lnTo>
                      <a:lnTo>
                        <a:pt x="706" y="861"/>
                      </a:lnTo>
                      <a:lnTo>
                        <a:pt x="706" y="848"/>
                      </a:lnTo>
                      <a:lnTo>
                        <a:pt x="679" y="848"/>
                      </a:lnTo>
                      <a:lnTo>
                        <a:pt x="679" y="832"/>
                      </a:lnTo>
                      <a:lnTo>
                        <a:pt x="679" y="819"/>
                      </a:lnTo>
                      <a:lnTo>
                        <a:pt x="648" y="805"/>
                      </a:lnTo>
                      <a:lnTo>
                        <a:pt x="679" y="790"/>
                      </a:lnTo>
                      <a:lnTo>
                        <a:pt x="663" y="776"/>
                      </a:lnTo>
                      <a:lnTo>
                        <a:pt x="663" y="760"/>
                      </a:lnTo>
                      <a:lnTo>
                        <a:pt x="648" y="776"/>
                      </a:lnTo>
                      <a:lnTo>
                        <a:pt x="634" y="760"/>
                      </a:lnTo>
                      <a:lnTo>
                        <a:pt x="634" y="747"/>
                      </a:lnTo>
                      <a:lnTo>
                        <a:pt x="634" y="731"/>
                      </a:lnTo>
                      <a:lnTo>
                        <a:pt x="634" y="718"/>
                      </a:lnTo>
                      <a:lnTo>
                        <a:pt x="621" y="702"/>
                      </a:lnTo>
                      <a:lnTo>
                        <a:pt x="621" y="689"/>
                      </a:lnTo>
                      <a:lnTo>
                        <a:pt x="634" y="675"/>
                      </a:lnTo>
                      <a:lnTo>
                        <a:pt x="621" y="646"/>
                      </a:lnTo>
                      <a:lnTo>
                        <a:pt x="634" y="631"/>
                      </a:lnTo>
                      <a:lnTo>
                        <a:pt x="634" y="617"/>
                      </a:lnTo>
                      <a:lnTo>
                        <a:pt x="634" y="603"/>
                      </a:lnTo>
                      <a:lnTo>
                        <a:pt x="621" y="576"/>
                      </a:lnTo>
                      <a:lnTo>
                        <a:pt x="605" y="545"/>
                      </a:lnTo>
                      <a:lnTo>
                        <a:pt x="592" y="532"/>
                      </a:lnTo>
                      <a:lnTo>
                        <a:pt x="563" y="516"/>
                      </a:lnTo>
                      <a:lnTo>
                        <a:pt x="563" y="503"/>
                      </a:lnTo>
                      <a:lnTo>
                        <a:pt x="547" y="487"/>
                      </a:lnTo>
                      <a:lnTo>
                        <a:pt x="534" y="458"/>
                      </a:lnTo>
                      <a:lnTo>
                        <a:pt x="534" y="431"/>
                      </a:lnTo>
                      <a:lnTo>
                        <a:pt x="534" y="415"/>
                      </a:lnTo>
                      <a:lnTo>
                        <a:pt x="534" y="388"/>
                      </a:lnTo>
                      <a:lnTo>
                        <a:pt x="547" y="373"/>
                      </a:lnTo>
                      <a:lnTo>
                        <a:pt x="547" y="359"/>
                      </a:lnTo>
                      <a:lnTo>
                        <a:pt x="547" y="330"/>
                      </a:lnTo>
                      <a:lnTo>
                        <a:pt x="518" y="301"/>
                      </a:lnTo>
                      <a:lnTo>
                        <a:pt x="491" y="287"/>
                      </a:lnTo>
                      <a:lnTo>
                        <a:pt x="491" y="272"/>
                      </a:lnTo>
                      <a:lnTo>
                        <a:pt x="475" y="258"/>
                      </a:lnTo>
                      <a:lnTo>
                        <a:pt x="462" y="243"/>
                      </a:lnTo>
                      <a:lnTo>
                        <a:pt x="446" y="229"/>
                      </a:lnTo>
                      <a:lnTo>
                        <a:pt x="446" y="216"/>
                      </a:lnTo>
                      <a:lnTo>
                        <a:pt x="462" y="200"/>
                      </a:lnTo>
                      <a:lnTo>
                        <a:pt x="462" y="186"/>
                      </a:lnTo>
                      <a:lnTo>
                        <a:pt x="475" y="171"/>
                      </a:lnTo>
                      <a:lnTo>
                        <a:pt x="475" y="171"/>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2" name="Freeform 181"/>
                <p:cNvSpPr>
                  <a:spLocks/>
                </p:cNvSpPr>
                <p:nvPr>
                  <p:custDataLst>
                    <p:tags r:id="rId39"/>
                  </p:custDataLst>
                </p:nvPr>
              </p:nvSpPr>
              <p:spPr bwMode="auto">
                <a:xfrm>
                  <a:off x="3369103" y="4886304"/>
                  <a:ext cx="77390" cy="53975"/>
                </a:xfrm>
                <a:custGeom>
                  <a:avLst/>
                  <a:gdLst/>
                  <a:ahLst/>
                  <a:cxnLst>
                    <a:cxn ang="0">
                      <a:pos x="0" y="21"/>
                    </a:cxn>
                    <a:cxn ang="0">
                      <a:pos x="7" y="9"/>
                    </a:cxn>
                    <a:cxn ang="0">
                      <a:pos x="19" y="3"/>
                    </a:cxn>
                    <a:cxn ang="0">
                      <a:pos x="36" y="0"/>
                    </a:cxn>
                    <a:cxn ang="0">
                      <a:pos x="46" y="0"/>
                    </a:cxn>
                    <a:cxn ang="0">
                      <a:pos x="60" y="19"/>
                    </a:cxn>
                    <a:cxn ang="0">
                      <a:pos x="60" y="40"/>
                    </a:cxn>
                    <a:cxn ang="0">
                      <a:pos x="46" y="52"/>
                    </a:cxn>
                    <a:cxn ang="0">
                      <a:pos x="36" y="52"/>
                    </a:cxn>
                    <a:cxn ang="0">
                      <a:pos x="23" y="50"/>
                    </a:cxn>
                    <a:cxn ang="0">
                      <a:pos x="7" y="44"/>
                    </a:cxn>
                    <a:cxn ang="0">
                      <a:pos x="0" y="21"/>
                    </a:cxn>
                    <a:cxn ang="0">
                      <a:pos x="0" y="21"/>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3" name="Freeform 182"/>
                <p:cNvSpPr>
                  <a:spLocks/>
                </p:cNvSpPr>
                <p:nvPr>
                  <p:custDataLst>
                    <p:tags r:id="rId40"/>
                  </p:custDataLst>
                </p:nvPr>
              </p:nvSpPr>
              <p:spPr bwMode="auto">
                <a:xfrm>
                  <a:off x="4681303" y="4294167"/>
                  <a:ext cx="48154" cy="52387"/>
                </a:xfrm>
                <a:custGeom>
                  <a:avLst/>
                  <a:gdLst/>
                  <a:ahLst/>
                  <a:cxnLst>
                    <a:cxn ang="0">
                      <a:pos x="18" y="0"/>
                    </a:cxn>
                    <a:cxn ang="0">
                      <a:pos x="37" y="15"/>
                    </a:cxn>
                    <a:cxn ang="0">
                      <a:pos x="37" y="39"/>
                    </a:cxn>
                    <a:cxn ang="0">
                      <a:pos x="33" y="48"/>
                    </a:cxn>
                    <a:cxn ang="0">
                      <a:pos x="18" y="50"/>
                    </a:cxn>
                    <a:cxn ang="0">
                      <a:pos x="8" y="50"/>
                    </a:cxn>
                    <a:cxn ang="0">
                      <a:pos x="0" y="39"/>
                    </a:cxn>
                    <a:cxn ang="0">
                      <a:pos x="0" y="14"/>
                    </a:cxn>
                    <a:cxn ang="0">
                      <a:pos x="14" y="2"/>
                    </a:cxn>
                    <a:cxn ang="0">
                      <a:pos x="18" y="0"/>
                    </a:cxn>
                    <a:cxn ang="0">
                      <a:pos x="18" y="0"/>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4" name="Freeform 183"/>
                <p:cNvSpPr>
                  <a:spLocks/>
                </p:cNvSpPr>
                <p:nvPr>
                  <p:custDataLst>
                    <p:tags r:id="rId41"/>
                  </p:custDataLst>
                </p:nvPr>
              </p:nvSpPr>
              <p:spPr bwMode="auto">
                <a:xfrm>
                  <a:off x="4681303" y="4294167"/>
                  <a:ext cx="48154" cy="52387"/>
                </a:xfrm>
                <a:custGeom>
                  <a:avLst/>
                  <a:gdLst/>
                  <a:ahLst/>
                  <a:cxnLst>
                    <a:cxn ang="0">
                      <a:pos x="18" y="0"/>
                    </a:cxn>
                    <a:cxn ang="0">
                      <a:pos x="37" y="15"/>
                    </a:cxn>
                    <a:cxn ang="0">
                      <a:pos x="37" y="39"/>
                    </a:cxn>
                    <a:cxn ang="0">
                      <a:pos x="33" y="48"/>
                    </a:cxn>
                    <a:cxn ang="0">
                      <a:pos x="18" y="50"/>
                    </a:cxn>
                    <a:cxn ang="0">
                      <a:pos x="8" y="50"/>
                    </a:cxn>
                    <a:cxn ang="0">
                      <a:pos x="0" y="39"/>
                    </a:cxn>
                    <a:cxn ang="0">
                      <a:pos x="0" y="14"/>
                    </a:cxn>
                    <a:cxn ang="0">
                      <a:pos x="14" y="2"/>
                    </a:cxn>
                    <a:cxn ang="0">
                      <a:pos x="18" y="0"/>
                    </a:cxn>
                    <a:cxn ang="0">
                      <a:pos x="18" y="0"/>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grpFill/>
                <a:ln w="6350" cmpd="sng">
                  <a:solidFill>
                    <a:schemeClr val="bg1">
                      <a:lumMod val="50000"/>
                    </a:schemeClr>
                  </a:solidFill>
                  <a:prstDash val="solid"/>
                  <a:round/>
                  <a:headEnd/>
                  <a:tailEnd/>
                </a:ln>
              </p:spPr>
              <p:txBody>
                <a:bodyPr/>
                <a:lstStyle/>
                <a:p>
                  <a:endParaRPr lang="en-GB" sz="2461" dirty="0">
                    <a:latin typeface="Calibri" pitchFamily="34" charset="0"/>
                    <a:cs typeface="Calibri" pitchFamily="34" charset="0"/>
                  </a:endParaRPr>
                </a:p>
              </p:txBody>
            </p:sp>
            <p:sp>
              <p:nvSpPr>
                <p:cNvPr id="85" name="Freeform 184"/>
                <p:cNvSpPr>
                  <a:spLocks/>
                </p:cNvSpPr>
                <p:nvPr>
                  <p:custDataLst>
                    <p:tags r:id="rId42"/>
                  </p:custDataLst>
                </p:nvPr>
              </p:nvSpPr>
              <p:spPr bwMode="auto">
                <a:xfrm>
                  <a:off x="3726819" y="2105004"/>
                  <a:ext cx="36115" cy="46038"/>
                </a:xfrm>
                <a:custGeom>
                  <a:avLst/>
                  <a:gdLst/>
                  <a:ahLst/>
                  <a:cxnLst>
                    <a:cxn ang="0">
                      <a:pos x="29" y="43"/>
                    </a:cxn>
                    <a:cxn ang="0">
                      <a:pos x="15" y="29"/>
                    </a:cxn>
                    <a:cxn ang="0">
                      <a:pos x="0" y="14"/>
                    </a:cxn>
                    <a:cxn ang="0">
                      <a:pos x="15" y="14"/>
                    </a:cxn>
                    <a:cxn ang="0">
                      <a:pos x="29" y="0"/>
                    </a:cxn>
                    <a:cxn ang="0">
                      <a:pos x="29" y="14"/>
                    </a:cxn>
                    <a:cxn ang="0">
                      <a:pos x="29" y="29"/>
                    </a:cxn>
                    <a:cxn ang="0">
                      <a:pos x="29" y="43"/>
                    </a:cxn>
                    <a:cxn ang="0">
                      <a:pos x="29" y="43"/>
                    </a:cxn>
                    <a:cxn ang="0">
                      <a:pos x="29" y="43"/>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6" name="Freeform 185"/>
                <p:cNvSpPr>
                  <a:spLocks/>
                </p:cNvSpPr>
                <p:nvPr>
                  <p:custDataLst>
                    <p:tags r:id="rId43"/>
                  </p:custDataLst>
                </p:nvPr>
              </p:nvSpPr>
              <p:spPr bwMode="auto">
                <a:xfrm>
                  <a:off x="3984788" y="1920854"/>
                  <a:ext cx="55033" cy="120650"/>
                </a:xfrm>
                <a:custGeom>
                  <a:avLst/>
                  <a:gdLst/>
                  <a:ahLst/>
                  <a:cxnLst>
                    <a:cxn ang="0">
                      <a:pos x="0" y="114"/>
                    </a:cxn>
                    <a:cxn ang="0">
                      <a:pos x="16" y="101"/>
                    </a:cxn>
                    <a:cxn ang="0">
                      <a:pos x="16" y="85"/>
                    </a:cxn>
                    <a:cxn ang="0">
                      <a:pos x="0" y="72"/>
                    </a:cxn>
                    <a:cxn ang="0">
                      <a:pos x="0" y="58"/>
                    </a:cxn>
                    <a:cxn ang="0">
                      <a:pos x="30" y="58"/>
                    </a:cxn>
                    <a:cxn ang="0">
                      <a:pos x="30" y="42"/>
                    </a:cxn>
                    <a:cxn ang="0">
                      <a:pos x="45" y="0"/>
                    </a:cxn>
                    <a:cxn ang="0">
                      <a:pos x="45" y="27"/>
                    </a:cxn>
                    <a:cxn ang="0">
                      <a:pos x="45" y="42"/>
                    </a:cxn>
                    <a:cxn ang="0">
                      <a:pos x="45" y="58"/>
                    </a:cxn>
                    <a:cxn ang="0">
                      <a:pos x="45" y="72"/>
                    </a:cxn>
                    <a:cxn ang="0">
                      <a:pos x="30" y="85"/>
                    </a:cxn>
                    <a:cxn ang="0">
                      <a:pos x="30" y="101"/>
                    </a:cxn>
                    <a:cxn ang="0">
                      <a:pos x="0" y="114"/>
                    </a:cxn>
                    <a:cxn ang="0">
                      <a:pos x="0" y="114"/>
                    </a:cxn>
                    <a:cxn ang="0">
                      <a:pos x="0" y="114"/>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7" name="Freeform 186"/>
                <p:cNvSpPr>
                  <a:spLocks/>
                </p:cNvSpPr>
                <p:nvPr>
                  <p:custDataLst>
                    <p:tags r:id="rId44"/>
                  </p:custDataLst>
                </p:nvPr>
              </p:nvSpPr>
              <p:spPr bwMode="auto">
                <a:xfrm>
                  <a:off x="3265915" y="2119292"/>
                  <a:ext cx="128984" cy="104775"/>
                </a:xfrm>
                <a:custGeom>
                  <a:avLst/>
                  <a:gdLst/>
                  <a:ahLst/>
                  <a:cxnLst>
                    <a:cxn ang="0">
                      <a:pos x="0" y="101"/>
                    </a:cxn>
                    <a:cxn ang="0">
                      <a:pos x="16" y="72"/>
                    </a:cxn>
                    <a:cxn ang="0">
                      <a:pos x="29" y="58"/>
                    </a:cxn>
                    <a:cxn ang="0">
                      <a:pos x="45" y="72"/>
                    </a:cxn>
                    <a:cxn ang="0">
                      <a:pos x="45" y="87"/>
                    </a:cxn>
                    <a:cxn ang="0">
                      <a:pos x="58" y="72"/>
                    </a:cxn>
                    <a:cxn ang="0">
                      <a:pos x="58" y="58"/>
                    </a:cxn>
                    <a:cxn ang="0">
                      <a:pos x="74" y="43"/>
                    </a:cxn>
                    <a:cxn ang="0">
                      <a:pos x="87" y="43"/>
                    </a:cxn>
                    <a:cxn ang="0">
                      <a:pos x="87" y="29"/>
                    </a:cxn>
                    <a:cxn ang="0">
                      <a:pos x="101" y="15"/>
                    </a:cxn>
                    <a:cxn ang="0">
                      <a:pos x="101" y="0"/>
                    </a:cxn>
                    <a:cxn ang="0">
                      <a:pos x="87" y="15"/>
                    </a:cxn>
                    <a:cxn ang="0">
                      <a:pos x="74" y="15"/>
                    </a:cxn>
                    <a:cxn ang="0">
                      <a:pos x="45" y="15"/>
                    </a:cxn>
                    <a:cxn ang="0">
                      <a:pos x="45" y="43"/>
                    </a:cxn>
                    <a:cxn ang="0">
                      <a:pos x="29" y="29"/>
                    </a:cxn>
                    <a:cxn ang="0">
                      <a:pos x="29" y="15"/>
                    </a:cxn>
                    <a:cxn ang="0">
                      <a:pos x="16" y="29"/>
                    </a:cxn>
                    <a:cxn ang="0">
                      <a:pos x="16" y="43"/>
                    </a:cxn>
                    <a:cxn ang="0">
                      <a:pos x="0" y="72"/>
                    </a:cxn>
                    <a:cxn ang="0">
                      <a:pos x="0" y="87"/>
                    </a:cxn>
                    <a:cxn ang="0">
                      <a:pos x="0" y="101"/>
                    </a:cxn>
                    <a:cxn ang="0">
                      <a:pos x="0" y="101"/>
                    </a:cxn>
                    <a:cxn ang="0">
                      <a:pos x="0" y="101"/>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8" name="Freeform 187"/>
                <p:cNvSpPr>
                  <a:spLocks/>
                </p:cNvSpPr>
                <p:nvPr>
                  <p:custDataLst>
                    <p:tags r:id="rId45"/>
                  </p:custDataLst>
                </p:nvPr>
              </p:nvSpPr>
              <p:spPr bwMode="auto">
                <a:xfrm>
                  <a:off x="3281393" y="2258992"/>
                  <a:ext cx="75671" cy="92075"/>
                </a:xfrm>
                <a:custGeom>
                  <a:avLst/>
                  <a:gdLst/>
                  <a:ahLst/>
                  <a:cxnLst>
                    <a:cxn ang="0">
                      <a:pos x="44" y="56"/>
                    </a:cxn>
                    <a:cxn ang="0">
                      <a:pos x="44" y="44"/>
                    </a:cxn>
                    <a:cxn ang="0">
                      <a:pos x="44" y="29"/>
                    </a:cxn>
                    <a:cxn ang="0">
                      <a:pos x="58" y="15"/>
                    </a:cxn>
                    <a:cxn ang="0">
                      <a:pos x="58" y="0"/>
                    </a:cxn>
                    <a:cxn ang="0">
                      <a:pos x="44" y="15"/>
                    </a:cxn>
                    <a:cxn ang="0">
                      <a:pos x="29" y="29"/>
                    </a:cxn>
                    <a:cxn ang="0">
                      <a:pos x="29" y="15"/>
                    </a:cxn>
                    <a:cxn ang="0">
                      <a:pos x="29" y="0"/>
                    </a:cxn>
                    <a:cxn ang="0">
                      <a:pos x="0" y="15"/>
                    </a:cxn>
                    <a:cxn ang="0">
                      <a:pos x="0" y="29"/>
                    </a:cxn>
                    <a:cxn ang="0">
                      <a:pos x="0" y="44"/>
                    </a:cxn>
                    <a:cxn ang="0">
                      <a:pos x="29" y="29"/>
                    </a:cxn>
                    <a:cxn ang="0">
                      <a:pos x="15" y="56"/>
                    </a:cxn>
                    <a:cxn ang="0">
                      <a:pos x="29" y="72"/>
                    </a:cxn>
                    <a:cxn ang="0">
                      <a:pos x="29" y="85"/>
                    </a:cxn>
                    <a:cxn ang="0">
                      <a:pos x="44" y="56"/>
                    </a:cxn>
                    <a:cxn ang="0">
                      <a:pos x="44" y="56"/>
                    </a:cxn>
                    <a:cxn ang="0">
                      <a:pos x="44" y="56"/>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89" name="Freeform 188"/>
                <p:cNvSpPr>
                  <a:spLocks/>
                </p:cNvSpPr>
                <p:nvPr>
                  <p:custDataLst>
                    <p:tags r:id="rId46"/>
                  </p:custDataLst>
                </p:nvPr>
              </p:nvSpPr>
              <p:spPr bwMode="auto">
                <a:xfrm>
                  <a:off x="3265915" y="2424092"/>
                  <a:ext cx="36115" cy="49212"/>
                </a:xfrm>
                <a:custGeom>
                  <a:avLst/>
                  <a:gdLst/>
                  <a:ahLst/>
                  <a:cxnLst>
                    <a:cxn ang="0">
                      <a:pos x="14" y="45"/>
                    </a:cxn>
                    <a:cxn ang="0">
                      <a:pos x="14" y="29"/>
                    </a:cxn>
                    <a:cxn ang="0">
                      <a:pos x="0" y="29"/>
                    </a:cxn>
                    <a:cxn ang="0">
                      <a:pos x="14" y="15"/>
                    </a:cxn>
                    <a:cxn ang="0">
                      <a:pos x="14" y="0"/>
                    </a:cxn>
                    <a:cxn ang="0">
                      <a:pos x="0" y="0"/>
                    </a:cxn>
                    <a:cxn ang="0">
                      <a:pos x="29" y="15"/>
                    </a:cxn>
                    <a:cxn ang="0">
                      <a:pos x="29" y="29"/>
                    </a:cxn>
                    <a:cxn ang="0">
                      <a:pos x="14" y="29"/>
                    </a:cxn>
                    <a:cxn ang="0">
                      <a:pos x="14" y="45"/>
                    </a:cxn>
                    <a:cxn ang="0">
                      <a:pos x="14" y="45"/>
                    </a:cxn>
                    <a:cxn ang="0">
                      <a:pos x="14" y="45"/>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90" name="Freeform 189"/>
                <p:cNvSpPr>
                  <a:spLocks/>
                </p:cNvSpPr>
                <p:nvPr>
                  <p:custDataLst>
                    <p:tags r:id="rId47"/>
                  </p:custDataLst>
                </p:nvPr>
              </p:nvSpPr>
              <p:spPr bwMode="auto">
                <a:xfrm>
                  <a:off x="2791253" y="3543279"/>
                  <a:ext cx="1750748" cy="1411288"/>
                </a:xfrm>
                <a:custGeom>
                  <a:avLst/>
                  <a:gdLst/>
                  <a:ahLst/>
                  <a:cxnLst>
                    <a:cxn ang="0">
                      <a:pos x="857" y="779"/>
                    </a:cxn>
                    <a:cxn ang="0">
                      <a:pos x="845" y="713"/>
                    </a:cxn>
                    <a:cxn ang="0">
                      <a:pos x="814" y="664"/>
                    </a:cxn>
                    <a:cxn ang="0">
                      <a:pos x="878" y="634"/>
                    </a:cxn>
                    <a:cxn ang="0">
                      <a:pos x="867" y="588"/>
                    </a:cxn>
                    <a:cxn ang="0">
                      <a:pos x="857" y="540"/>
                    </a:cxn>
                    <a:cxn ang="0">
                      <a:pos x="837" y="518"/>
                    </a:cxn>
                    <a:cxn ang="0">
                      <a:pos x="835" y="491"/>
                    </a:cxn>
                    <a:cxn ang="0">
                      <a:pos x="898" y="433"/>
                    </a:cxn>
                    <a:cxn ang="0">
                      <a:pos x="953" y="404"/>
                    </a:cxn>
                    <a:cxn ang="0">
                      <a:pos x="975" y="337"/>
                    </a:cxn>
                    <a:cxn ang="0">
                      <a:pos x="985" y="278"/>
                    </a:cxn>
                    <a:cxn ang="0">
                      <a:pos x="898" y="212"/>
                    </a:cxn>
                    <a:cxn ang="0">
                      <a:pos x="835" y="202"/>
                    </a:cxn>
                    <a:cxn ang="0">
                      <a:pos x="793" y="154"/>
                    </a:cxn>
                    <a:cxn ang="0">
                      <a:pos x="748" y="144"/>
                    </a:cxn>
                    <a:cxn ang="0">
                      <a:pos x="728" y="96"/>
                    </a:cxn>
                    <a:cxn ang="0">
                      <a:pos x="684" y="57"/>
                    </a:cxn>
                    <a:cxn ang="0">
                      <a:pos x="652" y="19"/>
                    </a:cxn>
                    <a:cxn ang="0">
                      <a:pos x="599" y="0"/>
                    </a:cxn>
                    <a:cxn ang="0">
                      <a:pos x="567" y="48"/>
                    </a:cxn>
                    <a:cxn ang="0">
                      <a:pos x="524" y="87"/>
                    </a:cxn>
                    <a:cxn ang="0">
                      <a:pos x="449" y="116"/>
                    </a:cxn>
                    <a:cxn ang="0">
                      <a:pos x="428" y="134"/>
                    </a:cxn>
                    <a:cxn ang="0">
                      <a:pos x="342" y="116"/>
                    </a:cxn>
                    <a:cxn ang="0">
                      <a:pos x="321" y="68"/>
                    </a:cxn>
                    <a:cxn ang="0">
                      <a:pos x="278" y="96"/>
                    </a:cxn>
                    <a:cxn ang="0">
                      <a:pos x="290" y="164"/>
                    </a:cxn>
                    <a:cxn ang="0">
                      <a:pos x="246" y="154"/>
                    </a:cxn>
                    <a:cxn ang="0">
                      <a:pos x="172" y="144"/>
                    </a:cxn>
                    <a:cxn ang="0">
                      <a:pos x="149" y="116"/>
                    </a:cxn>
                    <a:cxn ang="0">
                      <a:pos x="75" y="116"/>
                    </a:cxn>
                    <a:cxn ang="0">
                      <a:pos x="10" y="116"/>
                    </a:cxn>
                    <a:cxn ang="0">
                      <a:pos x="42" y="144"/>
                    </a:cxn>
                    <a:cxn ang="0">
                      <a:pos x="10" y="164"/>
                    </a:cxn>
                    <a:cxn ang="0">
                      <a:pos x="63" y="183"/>
                    </a:cxn>
                    <a:cxn ang="0">
                      <a:pos x="106" y="231"/>
                    </a:cxn>
                    <a:cxn ang="0">
                      <a:pos x="160" y="260"/>
                    </a:cxn>
                    <a:cxn ang="0">
                      <a:pos x="172" y="298"/>
                    </a:cxn>
                    <a:cxn ang="0">
                      <a:pos x="181" y="356"/>
                    </a:cxn>
                    <a:cxn ang="0">
                      <a:pos x="224" y="404"/>
                    </a:cxn>
                    <a:cxn ang="0">
                      <a:pos x="213" y="461"/>
                    </a:cxn>
                    <a:cxn ang="0">
                      <a:pos x="224" y="510"/>
                    </a:cxn>
                    <a:cxn ang="0">
                      <a:pos x="213" y="520"/>
                    </a:cxn>
                    <a:cxn ang="0">
                      <a:pos x="181" y="520"/>
                    </a:cxn>
                    <a:cxn ang="0">
                      <a:pos x="172" y="577"/>
                    </a:cxn>
                    <a:cxn ang="0">
                      <a:pos x="128" y="616"/>
                    </a:cxn>
                    <a:cxn ang="0">
                      <a:pos x="63" y="693"/>
                    </a:cxn>
                    <a:cxn ang="0">
                      <a:pos x="106" y="731"/>
                    </a:cxn>
                    <a:cxn ang="0">
                      <a:pos x="181" y="779"/>
                    </a:cxn>
                    <a:cxn ang="0">
                      <a:pos x="270" y="821"/>
                    </a:cxn>
                    <a:cxn ang="0">
                      <a:pos x="333" y="857"/>
                    </a:cxn>
                    <a:cxn ang="0">
                      <a:pos x="406" y="876"/>
                    </a:cxn>
                    <a:cxn ang="0">
                      <a:pos x="469" y="880"/>
                    </a:cxn>
                    <a:cxn ang="0">
                      <a:pos x="471" y="827"/>
                    </a:cxn>
                    <a:cxn ang="0">
                      <a:pos x="524" y="798"/>
                    </a:cxn>
                    <a:cxn ang="0">
                      <a:pos x="589" y="798"/>
                    </a:cxn>
                    <a:cxn ang="0">
                      <a:pos x="652" y="798"/>
                    </a:cxn>
                    <a:cxn ang="0">
                      <a:pos x="684" y="827"/>
                    </a:cxn>
                    <a:cxn ang="0">
                      <a:pos x="728" y="867"/>
                    </a:cxn>
                    <a:cxn ang="0">
                      <a:pos x="793" y="857"/>
                    </a:cxn>
                    <a:cxn ang="0">
                      <a:pos x="823" y="827"/>
                    </a:cxn>
                    <a:cxn ang="0">
                      <a:pos x="867" y="819"/>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91" name="Freeform 190"/>
                <p:cNvSpPr>
                  <a:spLocks/>
                </p:cNvSpPr>
                <p:nvPr>
                  <p:custDataLst>
                    <p:tags r:id="rId48"/>
                  </p:custDataLst>
                </p:nvPr>
              </p:nvSpPr>
              <p:spPr bwMode="auto">
                <a:xfrm>
                  <a:off x="4182563" y="4367192"/>
                  <a:ext cx="1730110" cy="1514475"/>
                </a:xfrm>
                <a:custGeom>
                  <a:avLst/>
                  <a:gdLst/>
                  <a:ahLst/>
                  <a:cxnLst>
                    <a:cxn ang="0">
                      <a:pos x="97" y="289"/>
                    </a:cxn>
                    <a:cxn ang="0">
                      <a:pos x="149" y="241"/>
                    </a:cxn>
                    <a:cxn ang="0">
                      <a:pos x="246" y="271"/>
                    </a:cxn>
                    <a:cxn ang="0">
                      <a:pos x="267" y="260"/>
                    </a:cxn>
                    <a:cxn ang="0">
                      <a:pos x="299" y="348"/>
                    </a:cxn>
                    <a:cxn ang="0">
                      <a:pos x="374" y="462"/>
                    </a:cxn>
                    <a:cxn ang="0">
                      <a:pos x="502" y="587"/>
                    </a:cxn>
                    <a:cxn ang="0">
                      <a:pos x="567" y="617"/>
                    </a:cxn>
                    <a:cxn ang="0">
                      <a:pos x="653" y="685"/>
                    </a:cxn>
                    <a:cxn ang="0">
                      <a:pos x="673" y="732"/>
                    </a:cxn>
                    <a:cxn ang="0">
                      <a:pos x="750" y="761"/>
                    </a:cxn>
                    <a:cxn ang="0">
                      <a:pos x="782" y="868"/>
                    </a:cxn>
                    <a:cxn ang="0">
                      <a:pos x="750" y="897"/>
                    </a:cxn>
                    <a:cxn ang="0">
                      <a:pos x="728" y="945"/>
                    </a:cxn>
                    <a:cxn ang="0">
                      <a:pos x="782" y="945"/>
                    </a:cxn>
                    <a:cxn ang="0">
                      <a:pos x="813" y="897"/>
                    </a:cxn>
                    <a:cxn ang="0">
                      <a:pos x="866" y="868"/>
                    </a:cxn>
                    <a:cxn ang="0">
                      <a:pos x="878" y="820"/>
                    </a:cxn>
                    <a:cxn ang="0">
                      <a:pos x="834" y="782"/>
                    </a:cxn>
                    <a:cxn ang="0">
                      <a:pos x="857" y="724"/>
                    </a:cxn>
                    <a:cxn ang="0">
                      <a:pos x="888" y="704"/>
                    </a:cxn>
                    <a:cxn ang="0">
                      <a:pos x="943" y="724"/>
                    </a:cxn>
                    <a:cxn ang="0">
                      <a:pos x="963" y="761"/>
                    </a:cxn>
                    <a:cxn ang="0">
                      <a:pos x="1006" y="742"/>
                    </a:cxn>
                    <a:cxn ang="0">
                      <a:pos x="963" y="674"/>
                    </a:cxn>
                    <a:cxn ang="0">
                      <a:pos x="866" y="635"/>
                    </a:cxn>
                    <a:cxn ang="0">
                      <a:pos x="803" y="606"/>
                    </a:cxn>
                    <a:cxn ang="0">
                      <a:pos x="803" y="578"/>
                    </a:cxn>
                    <a:cxn ang="0">
                      <a:pos x="707" y="549"/>
                    </a:cxn>
                    <a:cxn ang="0">
                      <a:pos x="632" y="473"/>
                    </a:cxn>
                    <a:cxn ang="0">
                      <a:pos x="598" y="385"/>
                    </a:cxn>
                    <a:cxn ang="0">
                      <a:pos x="557" y="337"/>
                    </a:cxn>
                    <a:cxn ang="0">
                      <a:pos x="492" y="298"/>
                    </a:cxn>
                    <a:cxn ang="0">
                      <a:pos x="492" y="241"/>
                    </a:cxn>
                    <a:cxn ang="0">
                      <a:pos x="492" y="201"/>
                    </a:cxn>
                    <a:cxn ang="0">
                      <a:pos x="502" y="164"/>
                    </a:cxn>
                    <a:cxn ang="0">
                      <a:pos x="567" y="154"/>
                    </a:cxn>
                    <a:cxn ang="0">
                      <a:pos x="598" y="154"/>
                    </a:cxn>
                    <a:cxn ang="0">
                      <a:pos x="621" y="125"/>
                    </a:cxn>
                    <a:cxn ang="0">
                      <a:pos x="621" y="77"/>
                    </a:cxn>
                    <a:cxn ang="0">
                      <a:pos x="567" y="57"/>
                    </a:cxn>
                    <a:cxn ang="0">
                      <a:pos x="524" y="28"/>
                    </a:cxn>
                    <a:cxn ang="0">
                      <a:pos x="460" y="9"/>
                    </a:cxn>
                    <a:cxn ang="0">
                      <a:pos x="407" y="19"/>
                    </a:cxn>
                    <a:cxn ang="0">
                      <a:pos x="374" y="0"/>
                    </a:cxn>
                    <a:cxn ang="0">
                      <a:pos x="353" y="28"/>
                    </a:cxn>
                    <a:cxn ang="0">
                      <a:pos x="321" y="57"/>
                    </a:cxn>
                    <a:cxn ang="0">
                      <a:pos x="278" y="38"/>
                    </a:cxn>
                    <a:cxn ang="0">
                      <a:pos x="246" y="57"/>
                    </a:cxn>
                    <a:cxn ang="0">
                      <a:pos x="203" y="68"/>
                    </a:cxn>
                    <a:cxn ang="0">
                      <a:pos x="171" y="28"/>
                    </a:cxn>
                    <a:cxn ang="0">
                      <a:pos x="118" y="68"/>
                    </a:cxn>
                    <a:cxn ang="0">
                      <a:pos x="43" y="77"/>
                    </a:cxn>
                    <a:cxn ang="0">
                      <a:pos x="53" y="125"/>
                    </a:cxn>
                    <a:cxn ang="0">
                      <a:pos x="0" y="144"/>
                    </a:cxn>
                    <a:cxn ang="0">
                      <a:pos x="31" y="182"/>
                    </a:cxn>
                    <a:cxn ang="0">
                      <a:pos x="22" y="241"/>
                    </a:cxn>
                    <a:cxn ang="0">
                      <a:pos x="63" y="280"/>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92" name="Freeform 196"/>
                <p:cNvSpPr>
                  <a:spLocks/>
                </p:cNvSpPr>
                <p:nvPr>
                  <p:custDataLst>
                    <p:tags r:id="rId49"/>
                  </p:custDataLst>
                </p:nvPr>
              </p:nvSpPr>
              <p:spPr bwMode="auto">
                <a:xfrm>
                  <a:off x="4681303" y="4095729"/>
                  <a:ext cx="1066271" cy="407988"/>
                </a:xfrm>
                <a:custGeom>
                  <a:avLst/>
                  <a:gdLst/>
                  <a:ahLst/>
                  <a:cxnLst>
                    <a:cxn ang="0">
                      <a:pos x="537" y="228"/>
                    </a:cxn>
                    <a:cxn ang="0">
                      <a:pos x="525" y="228"/>
                    </a:cxn>
                    <a:cxn ang="0">
                      <a:pos x="494" y="228"/>
                    </a:cxn>
                    <a:cxn ang="0">
                      <a:pos x="460" y="228"/>
                    </a:cxn>
                    <a:cxn ang="0">
                      <a:pos x="440" y="248"/>
                    </a:cxn>
                    <a:cxn ang="0">
                      <a:pos x="407" y="257"/>
                    </a:cxn>
                    <a:cxn ang="0">
                      <a:pos x="375" y="248"/>
                    </a:cxn>
                    <a:cxn ang="0">
                      <a:pos x="354" y="248"/>
                    </a:cxn>
                    <a:cxn ang="0">
                      <a:pos x="310" y="228"/>
                    </a:cxn>
                    <a:cxn ang="0">
                      <a:pos x="268" y="228"/>
                    </a:cxn>
                    <a:cxn ang="0">
                      <a:pos x="236" y="209"/>
                    </a:cxn>
                    <a:cxn ang="0">
                      <a:pos x="213" y="180"/>
                    </a:cxn>
                    <a:cxn ang="0">
                      <a:pos x="172" y="180"/>
                    </a:cxn>
                    <a:cxn ang="0">
                      <a:pos x="139" y="172"/>
                    </a:cxn>
                    <a:cxn ang="0">
                      <a:pos x="107" y="191"/>
                    </a:cxn>
                    <a:cxn ang="0">
                      <a:pos x="95" y="172"/>
                    </a:cxn>
                    <a:cxn ang="0">
                      <a:pos x="32" y="162"/>
                    </a:cxn>
                    <a:cxn ang="0">
                      <a:pos x="10" y="143"/>
                    </a:cxn>
                    <a:cxn ang="0">
                      <a:pos x="10" y="124"/>
                    </a:cxn>
                    <a:cxn ang="0">
                      <a:pos x="32" y="105"/>
                    </a:cxn>
                    <a:cxn ang="0">
                      <a:pos x="64" y="124"/>
                    </a:cxn>
                    <a:cxn ang="0">
                      <a:pos x="95" y="124"/>
                    </a:cxn>
                    <a:cxn ang="0">
                      <a:pos x="127" y="124"/>
                    </a:cxn>
                    <a:cxn ang="0">
                      <a:pos x="161" y="113"/>
                    </a:cxn>
                    <a:cxn ang="0">
                      <a:pos x="192" y="124"/>
                    </a:cxn>
                    <a:cxn ang="0">
                      <a:pos x="236" y="113"/>
                    </a:cxn>
                    <a:cxn ang="0">
                      <a:pos x="259" y="113"/>
                    </a:cxn>
                    <a:cxn ang="0">
                      <a:pos x="288" y="133"/>
                    </a:cxn>
                    <a:cxn ang="0">
                      <a:pos x="300" y="143"/>
                    </a:cxn>
                    <a:cxn ang="0">
                      <a:pos x="310" y="124"/>
                    </a:cxn>
                    <a:cxn ang="0">
                      <a:pos x="300" y="95"/>
                    </a:cxn>
                    <a:cxn ang="0">
                      <a:pos x="288" y="57"/>
                    </a:cxn>
                    <a:cxn ang="0">
                      <a:pos x="342" y="37"/>
                    </a:cxn>
                    <a:cxn ang="0">
                      <a:pos x="364" y="28"/>
                    </a:cxn>
                    <a:cxn ang="0">
                      <a:pos x="385" y="19"/>
                    </a:cxn>
                    <a:cxn ang="0">
                      <a:pos x="440" y="28"/>
                    </a:cxn>
                    <a:cxn ang="0">
                      <a:pos x="450" y="0"/>
                    </a:cxn>
                    <a:cxn ang="0">
                      <a:pos x="494" y="0"/>
                    </a:cxn>
                    <a:cxn ang="0">
                      <a:pos x="525" y="9"/>
                    </a:cxn>
                    <a:cxn ang="0">
                      <a:pos x="569" y="19"/>
                    </a:cxn>
                    <a:cxn ang="0">
                      <a:pos x="590" y="37"/>
                    </a:cxn>
                    <a:cxn ang="0">
                      <a:pos x="620" y="47"/>
                    </a:cxn>
                    <a:cxn ang="0">
                      <a:pos x="612" y="76"/>
                    </a:cxn>
                    <a:cxn ang="0">
                      <a:pos x="612" y="124"/>
                    </a:cxn>
                    <a:cxn ang="0">
                      <a:pos x="600" y="124"/>
                    </a:cxn>
                    <a:cxn ang="0">
                      <a:pos x="578" y="133"/>
                    </a:cxn>
                    <a:cxn ang="0">
                      <a:pos x="590" y="162"/>
                    </a:cxn>
                    <a:cxn ang="0">
                      <a:pos x="569" y="200"/>
                    </a:cxn>
                    <a:cxn ang="0">
                      <a:pos x="546" y="228"/>
                    </a:cxn>
                    <a:cxn ang="0">
                      <a:pos x="546" y="21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93" name="Freeform 197"/>
                <p:cNvSpPr>
                  <a:spLocks/>
                </p:cNvSpPr>
                <p:nvPr>
                  <p:custDataLst>
                    <p:tags r:id="rId50"/>
                  </p:custDataLst>
                </p:nvPr>
              </p:nvSpPr>
              <p:spPr bwMode="auto">
                <a:xfrm>
                  <a:off x="3912557" y="3513117"/>
                  <a:ext cx="435107" cy="368300"/>
                </a:xfrm>
                <a:custGeom>
                  <a:avLst/>
                  <a:gdLst/>
                  <a:ahLst/>
                  <a:cxnLst>
                    <a:cxn ang="0">
                      <a:pos x="224" y="39"/>
                    </a:cxn>
                    <a:cxn ang="0">
                      <a:pos x="202" y="20"/>
                    </a:cxn>
                    <a:cxn ang="0">
                      <a:pos x="182" y="28"/>
                    </a:cxn>
                    <a:cxn ang="0">
                      <a:pos x="139" y="9"/>
                    </a:cxn>
                    <a:cxn ang="0">
                      <a:pos x="117" y="20"/>
                    </a:cxn>
                    <a:cxn ang="0">
                      <a:pos x="94" y="28"/>
                    </a:cxn>
                    <a:cxn ang="0">
                      <a:pos x="75" y="28"/>
                    </a:cxn>
                    <a:cxn ang="0">
                      <a:pos x="65" y="9"/>
                    </a:cxn>
                    <a:cxn ang="0">
                      <a:pos x="53" y="0"/>
                    </a:cxn>
                    <a:cxn ang="0">
                      <a:pos x="32" y="9"/>
                    </a:cxn>
                    <a:cxn ang="0">
                      <a:pos x="20" y="9"/>
                    </a:cxn>
                    <a:cxn ang="0">
                      <a:pos x="0" y="28"/>
                    </a:cxn>
                    <a:cxn ang="0">
                      <a:pos x="0" y="48"/>
                    </a:cxn>
                    <a:cxn ang="0">
                      <a:pos x="12" y="68"/>
                    </a:cxn>
                    <a:cxn ang="0">
                      <a:pos x="32" y="68"/>
                    </a:cxn>
                    <a:cxn ang="0">
                      <a:pos x="32" y="86"/>
                    </a:cxn>
                    <a:cxn ang="0">
                      <a:pos x="53" y="86"/>
                    </a:cxn>
                    <a:cxn ang="0">
                      <a:pos x="65" y="114"/>
                    </a:cxn>
                    <a:cxn ang="0">
                      <a:pos x="85" y="114"/>
                    </a:cxn>
                    <a:cxn ang="0">
                      <a:pos x="94" y="134"/>
                    </a:cxn>
                    <a:cxn ang="0">
                      <a:pos x="85" y="154"/>
                    </a:cxn>
                    <a:cxn ang="0">
                      <a:pos x="106" y="164"/>
                    </a:cxn>
                    <a:cxn ang="0">
                      <a:pos x="117" y="154"/>
                    </a:cxn>
                    <a:cxn ang="0">
                      <a:pos x="129" y="164"/>
                    </a:cxn>
                    <a:cxn ang="0">
                      <a:pos x="139" y="184"/>
                    </a:cxn>
                    <a:cxn ang="0">
                      <a:pos x="149" y="202"/>
                    </a:cxn>
                    <a:cxn ang="0">
                      <a:pos x="170" y="212"/>
                    </a:cxn>
                    <a:cxn ang="0">
                      <a:pos x="182" y="232"/>
                    </a:cxn>
                    <a:cxn ang="0">
                      <a:pos x="208" y="222"/>
                    </a:cxn>
                    <a:cxn ang="0">
                      <a:pos x="205" y="193"/>
                    </a:cxn>
                    <a:cxn ang="0">
                      <a:pos x="205" y="173"/>
                    </a:cxn>
                    <a:cxn ang="0">
                      <a:pos x="225" y="154"/>
                    </a:cxn>
                    <a:cxn ang="0">
                      <a:pos x="236" y="144"/>
                    </a:cxn>
                    <a:cxn ang="0">
                      <a:pos x="250" y="138"/>
                    </a:cxn>
                    <a:cxn ang="0">
                      <a:pos x="245" y="114"/>
                    </a:cxn>
                    <a:cxn ang="0">
                      <a:pos x="253" y="88"/>
                    </a:cxn>
                    <a:cxn ang="0">
                      <a:pos x="250" y="67"/>
                    </a:cxn>
                    <a:cxn ang="0">
                      <a:pos x="245" y="57"/>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sp>
              <p:nvSpPr>
                <p:cNvPr id="94" name="Freeform 198"/>
                <p:cNvSpPr>
                  <a:spLocks/>
                </p:cNvSpPr>
                <p:nvPr>
                  <p:custDataLst>
                    <p:tags r:id="rId51"/>
                  </p:custDataLst>
                </p:nvPr>
              </p:nvSpPr>
              <p:spPr bwMode="auto">
                <a:xfrm>
                  <a:off x="4122371" y="3243242"/>
                  <a:ext cx="497019" cy="384175"/>
                </a:xfrm>
                <a:custGeom>
                  <a:avLst/>
                  <a:gdLst/>
                  <a:ahLst/>
                  <a:cxnLst>
                    <a:cxn ang="0">
                      <a:pos x="256" y="38"/>
                    </a:cxn>
                    <a:cxn ang="0">
                      <a:pos x="246" y="0"/>
                    </a:cxn>
                    <a:cxn ang="0">
                      <a:pos x="226" y="9"/>
                    </a:cxn>
                    <a:cxn ang="0">
                      <a:pos x="205" y="9"/>
                    </a:cxn>
                    <a:cxn ang="0">
                      <a:pos x="193" y="9"/>
                    </a:cxn>
                    <a:cxn ang="0">
                      <a:pos x="171" y="9"/>
                    </a:cxn>
                    <a:cxn ang="0">
                      <a:pos x="139" y="30"/>
                    </a:cxn>
                    <a:cxn ang="0">
                      <a:pos x="139" y="49"/>
                    </a:cxn>
                    <a:cxn ang="0">
                      <a:pos x="139" y="68"/>
                    </a:cxn>
                    <a:cxn ang="0">
                      <a:pos x="116" y="106"/>
                    </a:cxn>
                    <a:cxn ang="0">
                      <a:pos x="96" y="106"/>
                    </a:cxn>
                    <a:cxn ang="0">
                      <a:pos x="107" y="77"/>
                    </a:cxn>
                    <a:cxn ang="0">
                      <a:pos x="107" y="68"/>
                    </a:cxn>
                    <a:cxn ang="0">
                      <a:pos x="116" y="49"/>
                    </a:cxn>
                    <a:cxn ang="0">
                      <a:pos x="85" y="38"/>
                    </a:cxn>
                    <a:cxn ang="0">
                      <a:pos x="85" y="38"/>
                    </a:cxn>
                    <a:cxn ang="0">
                      <a:pos x="75" y="77"/>
                    </a:cxn>
                    <a:cxn ang="0">
                      <a:pos x="64" y="96"/>
                    </a:cxn>
                    <a:cxn ang="0">
                      <a:pos x="53" y="106"/>
                    </a:cxn>
                    <a:cxn ang="0">
                      <a:pos x="21" y="116"/>
                    </a:cxn>
                    <a:cxn ang="0">
                      <a:pos x="32" y="136"/>
                    </a:cxn>
                    <a:cxn ang="0">
                      <a:pos x="12" y="154"/>
                    </a:cxn>
                    <a:cxn ang="0">
                      <a:pos x="0" y="136"/>
                    </a:cxn>
                    <a:cxn ang="0">
                      <a:pos x="0" y="154"/>
                    </a:cxn>
                    <a:cxn ang="0">
                      <a:pos x="12" y="174"/>
                    </a:cxn>
                    <a:cxn ang="0">
                      <a:pos x="53" y="193"/>
                    </a:cxn>
                    <a:cxn ang="0">
                      <a:pos x="64" y="202"/>
                    </a:cxn>
                    <a:cxn ang="0">
                      <a:pos x="85" y="193"/>
                    </a:cxn>
                    <a:cxn ang="0">
                      <a:pos x="107" y="213"/>
                    </a:cxn>
                    <a:cxn ang="0">
                      <a:pos x="128" y="242"/>
                    </a:cxn>
                    <a:cxn ang="0">
                      <a:pos x="150" y="222"/>
                    </a:cxn>
                    <a:cxn ang="0">
                      <a:pos x="150" y="193"/>
                    </a:cxn>
                    <a:cxn ang="0">
                      <a:pos x="171" y="174"/>
                    </a:cxn>
                    <a:cxn ang="0">
                      <a:pos x="207" y="177"/>
                    </a:cxn>
                    <a:cxn ang="0">
                      <a:pos x="236" y="174"/>
                    </a:cxn>
                    <a:cxn ang="0">
                      <a:pos x="256" y="174"/>
                    </a:cxn>
                    <a:cxn ang="0">
                      <a:pos x="266" y="136"/>
                    </a:cxn>
                    <a:cxn ang="0">
                      <a:pos x="266" y="116"/>
                    </a:cxn>
                    <a:cxn ang="0">
                      <a:pos x="266" y="88"/>
                    </a:cxn>
                    <a:cxn ang="0">
                      <a:pos x="278" y="77"/>
                    </a:cxn>
                    <a:cxn ang="0">
                      <a:pos x="278" y="57"/>
                    </a:cxn>
                    <a:cxn ang="0">
                      <a:pos x="289" y="38"/>
                    </a:cxn>
                    <a:cxn ang="0">
                      <a:pos x="266" y="38"/>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grpFill/>
                <a:ln w="6350" cmpd="sng">
                  <a:solidFill>
                    <a:schemeClr val="bg1">
                      <a:lumMod val="50000"/>
                    </a:schemeClr>
                  </a:solidFill>
                  <a:round/>
                  <a:headEnd/>
                  <a:tailEnd/>
                </a:ln>
              </p:spPr>
              <p:txBody>
                <a:bodyPr/>
                <a:lstStyle/>
                <a:p>
                  <a:endParaRPr lang="en-GB" sz="2461" dirty="0">
                    <a:latin typeface="Calibri" pitchFamily="34" charset="0"/>
                    <a:cs typeface="Calibri" pitchFamily="34" charset="0"/>
                  </a:endParaRPr>
                </a:p>
              </p:txBody>
            </p:sp>
          </p:grpSp>
          <p:sp>
            <p:nvSpPr>
              <p:cNvPr id="24" name="TextBox 23"/>
              <p:cNvSpPr txBox="1"/>
              <p:nvPr/>
            </p:nvSpPr>
            <p:spPr bwMode="auto">
              <a:xfrm>
                <a:off x="8212432" y="3768173"/>
                <a:ext cx="1779312" cy="1402673"/>
              </a:xfrm>
              <a:prstGeom prst="rect">
                <a:avLst/>
              </a:prstGeom>
              <a:noFill/>
              <a:ln w="6350">
                <a:noFill/>
                <a:miter lim="800000"/>
                <a:headEnd/>
                <a:tailEnd/>
              </a:ln>
            </p:spPr>
            <p:txBody>
              <a:bodyPr wrap="square" rtlCol="0">
                <a:spAutoFit/>
              </a:bodyPr>
              <a:lstStyle/>
              <a:p>
                <a:pPr marL="224642" indent="-224642">
                  <a:spcBef>
                    <a:spcPts val="738"/>
                  </a:spcBef>
                  <a:buClr>
                    <a:schemeClr val="accent5"/>
                  </a:buClr>
                  <a:buSzPct val="120000"/>
                  <a:buFont typeface="Wingdings" pitchFamily="2" charset="2"/>
                  <a:buChar char="§"/>
                </a:pPr>
                <a:r>
                  <a:rPr lang="en-GB" sz="1400" dirty="0">
                    <a:solidFill>
                      <a:schemeClr val="tx1">
                        <a:lumMod val="85000"/>
                        <a:lumOff val="15000"/>
                      </a:schemeClr>
                    </a:solidFill>
                    <a:latin typeface="Calibri" pitchFamily="34" charset="0"/>
                    <a:cs typeface="Calibri" pitchFamily="34" charset="0"/>
                  </a:rPr>
                  <a:t>Consulting data on the intranet</a:t>
                </a:r>
              </a:p>
              <a:p>
                <a:pPr marL="224642" indent="-224642">
                  <a:spcBef>
                    <a:spcPts val="738"/>
                  </a:spcBef>
                  <a:buClr>
                    <a:schemeClr val="accent5"/>
                  </a:buClr>
                  <a:buSzPct val="120000"/>
                  <a:buFont typeface="Wingdings" pitchFamily="2" charset="2"/>
                  <a:buChar char="§"/>
                </a:pPr>
                <a:r>
                  <a:rPr lang="en-GB" sz="1400" dirty="0">
                    <a:solidFill>
                      <a:schemeClr val="tx1">
                        <a:lumMod val="85000"/>
                        <a:lumOff val="15000"/>
                      </a:schemeClr>
                    </a:solidFill>
                    <a:latin typeface="Calibri" pitchFamily="34" charset="0"/>
                    <a:cs typeface="Calibri" pitchFamily="34" charset="0"/>
                  </a:rPr>
                  <a:t>Data hosting on servers (cloud)</a:t>
                </a:r>
              </a:p>
              <a:p>
                <a:pPr marL="224642" indent="-224642">
                  <a:spcBef>
                    <a:spcPts val="738"/>
                  </a:spcBef>
                  <a:buClr>
                    <a:schemeClr val="accent5"/>
                  </a:buClr>
                  <a:buSzPct val="120000"/>
                  <a:buFont typeface="Wingdings" pitchFamily="2" charset="2"/>
                  <a:buChar char="§"/>
                </a:pPr>
                <a:r>
                  <a:rPr lang="en-GB" sz="1400" dirty="0">
                    <a:solidFill>
                      <a:schemeClr val="tx1">
                        <a:lumMod val="85000"/>
                        <a:lumOff val="15000"/>
                      </a:schemeClr>
                    </a:solidFill>
                    <a:latin typeface="Calibri" pitchFamily="34" charset="0"/>
                    <a:cs typeface="Calibri" pitchFamily="34" charset="0"/>
                  </a:rPr>
                  <a:t>Direct file transfer</a:t>
                </a:r>
              </a:p>
              <a:p>
                <a:pPr marL="224642" indent="-224642">
                  <a:spcBef>
                    <a:spcPts val="738"/>
                  </a:spcBef>
                  <a:buClr>
                    <a:schemeClr val="accent5"/>
                  </a:buClr>
                  <a:buSzPct val="120000"/>
                  <a:buFont typeface="Wingdings" pitchFamily="2" charset="2"/>
                  <a:buChar char="§"/>
                </a:pPr>
                <a:r>
                  <a:rPr lang="en-GB" sz="1400" dirty="0">
                    <a:solidFill>
                      <a:schemeClr val="tx1">
                        <a:lumMod val="85000"/>
                        <a:lumOff val="15000"/>
                      </a:schemeClr>
                    </a:solidFill>
                    <a:latin typeface="Calibri" pitchFamily="34" charset="0"/>
                    <a:cs typeface="Calibri" pitchFamily="34" charset="0"/>
                  </a:rPr>
                  <a:t>Acc</a:t>
                </a:r>
                <a:r>
                  <a:rPr lang="en-GB" sz="1400" dirty="0">
                    <a:solidFill>
                      <a:schemeClr val="tx1">
                        <a:lumMod val="85000"/>
                        <a:lumOff val="15000"/>
                      </a:schemeClr>
                    </a:solidFill>
                    <a:latin typeface="Calibri"/>
                    <a:cs typeface="Calibri" pitchFamily="34" charset="0"/>
                  </a:rPr>
                  <a:t>e</a:t>
                </a:r>
                <a:r>
                  <a:rPr lang="en-GB" sz="1400" dirty="0">
                    <a:solidFill>
                      <a:schemeClr val="tx1">
                        <a:lumMod val="85000"/>
                        <a:lumOff val="15000"/>
                      </a:schemeClr>
                    </a:solidFill>
                    <a:latin typeface="Calibri" pitchFamily="34" charset="0"/>
                    <a:cs typeface="Calibri" pitchFamily="34" charset="0"/>
                  </a:rPr>
                  <a:t>ss to data via application maintenance</a:t>
                </a:r>
              </a:p>
            </p:txBody>
          </p:sp>
          <p:sp>
            <p:nvSpPr>
              <p:cNvPr id="25" name="Curved Down Arrow 24"/>
              <p:cNvSpPr/>
              <p:nvPr>
                <p:custDataLst>
                  <p:tags r:id="rId1"/>
                </p:custDataLst>
              </p:nvPr>
            </p:nvSpPr>
            <p:spPr bwMode="auto">
              <a:xfrm>
                <a:off x="7897139" y="3638784"/>
                <a:ext cx="2348230" cy="350261"/>
              </a:xfrm>
              <a:prstGeom prst="curvedDownArrow">
                <a:avLst/>
              </a:prstGeom>
              <a:solidFill>
                <a:schemeClr val="tx2"/>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spcBef>
                    <a:spcPts val="492"/>
                  </a:spcBef>
                </a:pPr>
                <a:endParaRPr lang="en-GB" sz="1722" dirty="0">
                  <a:solidFill>
                    <a:schemeClr val="tx1">
                      <a:lumMod val="85000"/>
                      <a:lumOff val="15000"/>
                    </a:schemeClr>
                  </a:solidFill>
                </a:endParaRPr>
              </a:p>
            </p:txBody>
          </p:sp>
          <p:sp>
            <p:nvSpPr>
              <p:cNvPr id="26" name="TextBox 25"/>
              <p:cNvSpPr txBox="1"/>
              <p:nvPr/>
            </p:nvSpPr>
            <p:spPr bwMode="auto">
              <a:xfrm>
                <a:off x="7399155" y="2720723"/>
                <a:ext cx="3605051" cy="466884"/>
              </a:xfrm>
              <a:prstGeom prst="rect">
                <a:avLst/>
              </a:prstGeom>
              <a:noFill/>
              <a:ln w="9525">
                <a:noFill/>
                <a:miter lim="800000"/>
                <a:headEnd/>
                <a:tailEnd/>
              </a:ln>
            </p:spPr>
            <p:txBody>
              <a:bodyPr wrap="square" rtlCol="0">
                <a:spAutoFit/>
              </a:bodyPr>
              <a:lstStyle/>
              <a:p>
                <a:r>
                  <a:rPr lang="en-GB" sz="1722" b="1" dirty="0">
                    <a:latin typeface="Calibri" pitchFamily="34" charset="0"/>
                    <a:cs typeface="Arial" pitchFamily="34" charset="0"/>
                  </a:rPr>
                  <a:t>Data transfer </a:t>
                </a:r>
                <a:r>
                  <a:rPr lang="en-GB" sz="1722" dirty="0">
                    <a:latin typeface="Calibri" pitchFamily="34" charset="0"/>
                    <a:cs typeface="Arial" pitchFamily="34" charset="0"/>
                  </a:rPr>
                  <a:t>is a processing operation which is much more frequent than it appears</a:t>
                </a:r>
              </a:p>
            </p:txBody>
          </p:sp>
          <p:sp>
            <p:nvSpPr>
              <p:cNvPr id="27" name="Freeform 846"/>
              <p:cNvSpPr>
                <a:spLocks noEditPoints="1"/>
              </p:cNvSpPr>
              <p:nvPr/>
            </p:nvSpPr>
            <p:spPr bwMode="auto">
              <a:xfrm rot="5769006">
                <a:off x="6930124" y="3562325"/>
                <a:ext cx="371475" cy="374650"/>
              </a:xfrm>
              <a:custGeom>
                <a:avLst/>
                <a:gdLst/>
                <a:ahLst/>
                <a:cxnLst>
                  <a:cxn ang="0">
                    <a:pos x="94" y="64"/>
                  </a:cxn>
                  <a:cxn ang="0">
                    <a:pos x="33" y="64"/>
                  </a:cxn>
                  <a:cxn ang="0">
                    <a:pos x="64" y="34"/>
                  </a:cxn>
                  <a:cxn ang="0">
                    <a:pos x="64" y="95"/>
                  </a:cxn>
                  <a:cxn ang="0">
                    <a:pos x="164" y="144"/>
                  </a:cxn>
                  <a:cxn ang="0">
                    <a:pos x="114" y="93"/>
                  </a:cxn>
                  <a:cxn ang="0">
                    <a:pos x="105" y="23"/>
                  </a:cxn>
                  <a:cxn ang="0">
                    <a:pos x="23" y="23"/>
                  </a:cxn>
                  <a:cxn ang="0">
                    <a:pos x="23" y="105"/>
                  </a:cxn>
                  <a:cxn ang="0">
                    <a:pos x="93" y="114"/>
                  </a:cxn>
                  <a:cxn ang="0">
                    <a:pos x="143" y="165"/>
                  </a:cxn>
                </a:cxnLst>
                <a:rect l="0" t="0" r="r" b="b"/>
                <a:pathLst>
                  <a:path w="164" h="165">
                    <a:moveTo>
                      <a:pt x="94" y="64"/>
                    </a:moveTo>
                    <a:cubicBezTo>
                      <a:pt x="33" y="64"/>
                      <a:pt x="33" y="64"/>
                      <a:pt x="33" y="64"/>
                    </a:cubicBezTo>
                    <a:moveTo>
                      <a:pt x="64" y="34"/>
                    </a:moveTo>
                    <a:cubicBezTo>
                      <a:pt x="64" y="95"/>
                      <a:pt x="64" y="95"/>
                      <a:pt x="64" y="95"/>
                    </a:cubicBezTo>
                    <a:moveTo>
                      <a:pt x="164" y="144"/>
                    </a:moveTo>
                    <a:cubicBezTo>
                      <a:pt x="114" y="93"/>
                      <a:pt x="114" y="93"/>
                      <a:pt x="114" y="93"/>
                    </a:cubicBezTo>
                    <a:cubicBezTo>
                      <a:pt x="127" y="71"/>
                      <a:pt x="124" y="42"/>
                      <a:pt x="105" y="23"/>
                    </a:cubicBezTo>
                    <a:cubicBezTo>
                      <a:pt x="82" y="0"/>
                      <a:pt x="45" y="0"/>
                      <a:pt x="23" y="23"/>
                    </a:cubicBezTo>
                    <a:cubicBezTo>
                      <a:pt x="0" y="46"/>
                      <a:pt x="0" y="83"/>
                      <a:pt x="23" y="105"/>
                    </a:cubicBezTo>
                    <a:cubicBezTo>
                      <a:pt x="42" y="124"/>
                      <a:pt x="71" y="127"/>
                      <a:pt x="93" y="114"/>
                    </a:cubicBezTo>
                    <a:cubicBezTo>
                      <a:pt x="143" y="165"/>
                      <a:pt x="143" y="165"/>
                      <a:pt x="143" y="165"/>
                    </a:cubicBezTo>
                  </a:path>
                </a:pathLst>
              </a:custGeom>
              <a:solidFill>
                <a:schemeClr val="bg1"/>
              </a:solidFill>
              <a:ln w="12700" cap="rnd">
                <a:solidFill>
                  <a:srgbClr val="1A171B"/>
                </a:solidFill>
                <a:prstDash val="solid"/>
                <a:round/>
                <a:headEnd/>
                <a:tailEnd/>
              </a:ln>
            </p:spPr>
            <p:txBody>
              <a:bodyPr vert="horz" wrap="square" lIns="121888" tIns="60944" rIns="121888" bIns="60944" numCol="1" anchor="t" anchorCtr="0" compatLnSpc="1">
                <a:prstTxWarp prst="textNoShape">
                  <a:avLst/>
                </a:prstTxWarp>
              </a:bodyPr>
              <a:lstStyle/>
              <a:p>
                <a:endParaRPr lang="en-US" sz="2933"/>
              </a:p>
            </p:txBody>
          </p:sp>
          <p:grpSp>
            <p:nvGrpSpPr>
              <p:cNvPr id="28" name="Groupe 274"/>
              <p:cNvGrpSpPr/>
              <p:nvPr/>
            </p:nvGrpSpPr>
            <p:grpSpPr>
              <a:xfrm>
                <a:off x="6940599" y="2782062"/>
                <a:ext cx="390525" cy="360363"/>
                <a:chOff x="3405188" y="1922463"/>
                <a:chExt cx="390525" cy="360363"/>
              </a:xfrm>
            </p:grpSpPr>
            <p:sp>
              <p:nvSpPr>
                <p:cNvPr id="29" name="Freeform 786"/>
                <p:cNvSpPr>
                  <a:spLocks/>
                </p:cNvSpPr>
                <p:nvPr/>
              </p:nvSpPr>
              <p:spPr bwMode="auto">
                <a:xfrm>
                  <a:off x="3405188" y="1922463"/>
                  <a:ext cx="390525" cy="360363"/>
                </a:xfrm>
                <a:custGeom>
                  <a:avLst/>
                  <a:gdLst/>
                  <a:ahLst/>
                  <a:cxnLst>
                    <a:cxn ang="0">
                      <a:pos x="246" y="227"/>
                    </a:cxn>
                    <a:cxn ang="0">
                      <a:pos x="116" y="0"/>
                    </a:cxn>
                    <a:cxn ang="0">
                      <a:pos x="0" y="227"/>
                    </a:cxn>
                    <a:cxn ang="0">
                      <a:pos x="205" y="227"/>
                    </a:cxn>
                  </a:cxnLst>
                  <a:rect l="0" t="0" r="r" b="b"/>
                  <a:pathLst>
                    <a:path w="246" h="227">
                      <a:moveTo>
                        <a:pt x="246" y="227"/>
                      </a:moveTo>
                      <a:lnTo>
                        <a:pt x="116" y="0"/>
                      </a:lnTo>
                      <a:lnTo>
                        <a:pt x="0" y="227"/>
                      </a:lnTo>
                      <a:lnTo>
                        <a:pt x="205" y="227"/>
                      </a:lnTo>
                    </a:path>
                  </a:pathLst>
                </a:custGeom>
                <a:noFill/>
                <a:ln w="12700" cap="rnd">
                  <a:solidFill>
                    <a:srgbClr val="1A171B"/>
                  </a:solidFill>
                  <a:prstDash val="solid"/>
                  <a:bevel/>
                  <a:headEnd/>
                  <a:tailEnd/>
                </a:ln>
              </p:spPr>
              <p:txBody>
                <a:bodyPr vert="horz" wrap="square" lIns="121888" tIns="60944" rIns="121888" bIns="60944" numCol="1" anchor="t" anchorCtr="0" compatLnSpc="1">
                  <a:prstTxWarp prst="textNoShape">
                    <a:avLst/>
                  </a:prstTxWarp>
                </a:bodyPr>
                <a:lstStyle/>
                <a:p>
                  <a:endParaRPr lang="en-US" sz="2933"/>
                </a:p>
              </p:txBody>
            </p:sp>
            <p:sp>
              <p:nvSpPr>
                <p:cNvPr id="30" name="Freeform 787"/>
                <p:cNvSpPr>
                  <a:spLocks noEditPoints="1"/>
                </p:cNvSpPr>
                <p:nvPr/>
              </p:nvSpPr>
              <p:spPr bwMode="auto">
                <a:xfrm>
                  <a:off x="3575050" y="2038351"/>
                  <a:ext cx="30163" cy="206375"/>
                </a:xfrm>
                <a:custGeom>
                  <a:avLst/>
                  <a:gdLst/>
                  <a:ahLst/>
                  <a:cxnLst>
                    <a:cxn ang="0">
                      <a:pos x="5" y="97"/>
                    </a:cxn>
                    <a:cxn ang="0">
                      <a:pos x="15" y="97"/>
                    </a:cxn>
                    <a:cxn ang="0">
                      <a:pos x="18" y="38"/>
                    </a:cxn>
                    <a:cxn ang="0">
                      <a:pos x="18" y="0"/>
                    </a:cxn>
                    <a:cxn ang="0">
                      <a:pos x="2" y="0"/>
                    </a:cxn>
                    <a:cxn ang="0">
                      <a:pos x="2" y="38"/>
                    </a:cxn>
                    <a:cxn ang="0">
                      <a:pos x="5" y="97"/>
                    </a:cxn>
                    <a:cxn ang="0">
                      <a:pos x="19" y="130"/>
                    </a:cxn>
                    <a:cxn ang="0">
                      <a:pos x="19" y="111"/>
                    </a:cxn>
                    <a:cxn ang="0">
                      <a:pos x="0" y="111"/>
                    </a:cxn>
                    <a:cxn ang="0">
                      <a:pos x="0" y="130"/>
                    </a:cxn>
                    <a:cxn ang="0">
                      <a:pos x="19" y="130"/>
                    </a:cxn>
                  </a:cxnLst>
                  <a:rect l="0" t="0" r="r" b="b"/>
                  <a:pathLst>
                    <a:path w="19" h="130">
                      <a:moveTo>
                        <a:pt x="5" y="97"/>
                      </a:moveTo>
                      <a:lnTo>
                        <a:pt x="15" y="97"/>
                      </a:lnTo>
                      <a:lnTo>
                        <a:pt x="18" y="38"/>
                      </a:lnTo>
                      <a:lnTo>
                        <a:pt x="18" y="0"/>
                      </a:lnTo>
                      <a:lnTo>
                        <a:pt x="2" y="0"/>
                      </a:lnTo>
                      <a:lnTo>
                        <a:pt x="2" y="38"/>
                      </a:lnTo>
                      <a:lnTo>
                        <a:pt x="5" y="97"/>
                      </a:lnTo>
                      <a:close/>
                      <a:moveTo>
                        <a:pt x="19" y="130"/>
                      </a:moveTo>
                      <a:lnTo>
                        <a:pt x="19" y="111"/>
                      </a:lnTo>
                      <a:lnTo>
                        <a:pt x="0" y="111"/>
                      </a:lnTo>
                      <a:lnTo>
                        <a:pt x="0" y="130"/>
                      </a:lnTo>
                      <a:lnTo>
                        <a:pt x="19" y="130"/>
                      </a:lnTo>
                      <a:close/>
                    </a:path>
                  </a:pathLst>
                </a:custGeom>
                <a:noFill/>
                <a:ln w="12700" cap="flat">
                  <a:solidFill>
                    <a:srgbClr val="1A171B"/>
                  </a:solidFill>
                  <a:prstDash val="solid"/>
                  <a:miter lim="800000"/>
                  <a:headEnd/>
                  <a:tailEnd/>
                </a:ln>
              </p:spPr>
              <p:txBody>
                <a:bodyPr vert="horz" wrap="square" lIns="121888" tIns="60944" rIns="121888" bIns="60944" numCol="1" anchor="t" anchorCtr="0" compatLnSpc="1">
                  <a:prstTxWarp prst="textNoShape">
                    <a:avLst/>
                  </a:prstTxWarp>
                </a:bodyPr>
                <a:lstStyle/>
                <a:p>
                  <a:endParaRPr lang="en-US" sz="2933"/>
                </a:p>
              </p:txBody>
            </p:sp>
          </p:grpSp>
        </p:grpSp>
      </p:grpSp>
      <p:sp>
        <p:nvSpPr>
          <p:cNvPr id="3" name="Titel 2">
            <a:extLst>
              <a:ext uri="{FF2B5EF4-FFF2-40B4-BE49-F238E27FC236}">
                <a16:creationId xmlns:a16="http://schemas.microsoft.com/office/drawing/2014/main" id="{E6EBEDC5-2979-46AC-85AD-61DEC4F22E71}"/>
              </a:ext>
            </a:extLst>
          </p:cNvPr>
          <p:cNvSpPr>
            <a:spLocks noGrp="1"/>
          </p:cNvSpPr>
          <p:nvPr>
            <p:ph type="title"/>
          </p:nvPr>
        </p:nvSpPr>
        <p:spPr/>
        <p:txBody>
          <a:bodyPr/>
          <a:lstStyle/>
          <a:p>
            <a:r>
              <a:rPr lang="nl-NL" dirty="0"/>
              <a:t>Data verwerking</a:t>
            </a:r>
          </a:p>
        </p:txBody>
      </p:sp>
    </p:spTree>
    <p:extLst>
      <p:ext uri="{BB962C8B-B14F-4D97-AF65-F5344CB8AC3E}">
        <p14:creationId xmlns:p14="http://schemas.microsoft.com/office/powerpoint/2010/main" val="148087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BA389B-C840-48D5-B1D0-CD5042330291}"/>
              </a:ext>
            </a:extLst>
          </p:cNvPr>
          <p:cNvSpPr>
            <a:spLocks noGrp="1"/>
          </p:cNvSpPr>
          <p:nvPr>
            <p:ph type="title"/>
          </p:nvPr>
        </p:nvSpPr>
        <p:spPr>
          <a:xfrm>
            <a:off x="455881" y="457974"/>
            <a:ext cx="11277063" cy="914162"/>
          </a:xfrm>
        </p:spPr>
        <p:txBody>
          <a:bodyPr/>
          <a:lstStyle/>
          <a:p>
            <a:r>
              <a:rPr lang="nl-NL" dirty="0"/>
              <a:t>GDPR uitdagingen</a:t>
            </a:r>
          </a:p>
        </p:txBody>
      </p:sp>
      <p:grpSp>
        <p:nvGrpSpPr>
          <p:cNvPr id="57" name="COVER">
            <a:extLst>
              <a:ext uri="{FF2B5EF4-FFF2-40B4-BE49-F238E27FC236}">
                <a16:creationId xmlns:a16="http://schemas.microsoft.com/office/drawing/2014/main" id="{3CEA1984-4B02-4D38-A7A7-57CA9BA2FFD9}"/>
              </a:ext>
            </a:extLst>
          </p:cNvPr>
          <p:cNvGrpSpPr/>
          <p:nvPr/>
        </p:nvGrpSpPr>
        <p:grpSpPr>
          <a:xfrm>
            <a:off x="-287" y="5749366"/>
            <a:ext cx="12188825" cy="1107742"/>
            <a:chOff x="-215" y="4312477"/>
            <a:chExt cx="9144000" cy="831023"/>
          </a:xfrm>
        </p:grpSpPr>
        <p:sp>
          <p:nvSpPr>
            <p:cNvPr id="34" name="Rechthoek 33">
              <a:extLst>
                <a:ext uri="{FF2B5EF4-FFF2-40B4-BE49-F238E27FC236}">
                  <a16:creationId xmlns:a16="http://schemas.microsoft.com/office/drawing/2014/main" id="{A0B62498-F16D-4C2A-A6CE-228691E48BCB}"/>
                </a:ext>
              </a:extLst>
            </p:cNvPr>
            <p:cNvSpPr/>
            <p:nvPr/>
          </p:nvSpPr>
          <p:spPr>
            <a:xfrm>
              <a:off x="-215" y="4312477"/>
              <a:ext cx="9144000" cy="831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933"/>
            </a:p>
          </p:txBody>
        </p:sp>
        <p:grpSp>
          <p:nvGrpSpPr>
            <p:cNvPr id="36" name="Group 99">
              <a:extLst>
                <a:ext uri="{FF2B5EF4-FFF2-40B4-BE49-F238E27FC236}">
                  <a16:creationId xmlns:a16="http://schemas.microsoft.com/office/drawing/2014/main" id="{16DC140F-ADDB-4B42-A565-4951B90B1F9E}"/>
                </a:ext>
              </a:extLst>
            </p:cNvPr>
            <p:cNvGrpSpPr/>
            <p:nvPr/>
          </p:nvGrpSpPr>
          <p:grpSpPr bwMode="gray">
            <a:xfrm>
              <a:off x="342002" y="4559215"/>
              <a:ext cx="1109903" cy="241172"/>
              <a:chOff x="2749538" y="2279310"/>
              <a:chExt cx="1479870" cy="321562"/>
            </a:xfrm>
          </p:grpSpPr>
          <p:sp>
            <p:nvSpPr>
              <p:cNvPr id="37" name="Rectangle 100">
                <a:extLst>
                  <a:ext uri="{FF2B5EF4-FFF2-40B4-BE49-F238E27FC236}">
                    <a16:creationId xmlns:a16="http://schemas.microsoft.com/office/drawing/2014/main" id="{F47B9526-A350-4534-A947-71F222E84D7C}"/>
                  </a:ext>
                </a:extLst>
              </p:cNvPr>
              <p:cNvSpPr/>
              <p:nvPr/>
            </p:nvSpPr>
            <p:spPr bwMode="gray">
              <a:xfrm>
                <a:off x="2749538" y="2279310"/>
                <a:ext cx="488502" cy="321562"/>
              </a:xfrm>
              <a:prstGeom prst="rect">
                <a:avLst/>
              </a:prstGeom>
              <a:solidFill>
                <a:schemeClr val="bg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sp>
            <p:nvSpPr>
              <p:cNvPr id="38" name="Rectangle 101">
                <a:extLst>
                  <a:ext uri="{FF2B5EF4-FFF2-40B4-BE49-F238E27FC236}">
                    <a16:creationId xmlns:a16="http://schemas.microsoft.com/office/drawing/2014/main" id="{9A2E6B6E-D0C9-4AD7-BBF8-9851CF64F267}"/>
                  </a:ext>
                </a:extLst>
              </p:cNvPr>
              <p:cNvSpPr/>
              <p:nvPr/>
            </p:nvSpPr>
            <p:spPr bwMode="gray">
              <a:xfrm>
                <a:off x="3238039" y="2279310"/>
                <a:ext cx="991369" cy="321562"/>
              </a:xfrm>
              <a:prstGeom prst="rect">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399"/>
              </a:p>
            </p:txBody>
          </p:sp>
          <p:grpSp>
            <p:nvGrpSpPr>
              <p:cNvPr id="39" name="Group 21">
                <a:extLst>
                  <a:ext uri="{FF2B5EF4-FFF2-40B4-BE49-F238E27FC236}">
                    <a16:creationId xmlns:a16="http://schemas.microsoft.com/office/drawing/2014/main" id="{B074BB82-2735-4A0A-A908-CEC374D93417}"/>
                  </a:ext>
                </a:extLst>
              </p:cNvPr>
              <p:cNvGrpSpPr/>
              <p:nvPr/>
            </p:nvGrpSpPr>
            <p:grpSpPr bwMode="gray">
              <a:xfrm>
                <a:off x="3373209" y="2357164"/>
                <a:ext cx="726277" cy="153325"/>
                <a:chOff x="-1490663" y="3248025"/>
                <a:chExt cx="2857501" cy="603250"/>
              </a:xfrm>
            </p:grpSpPr>
            <p:sp>
              <p:nvSpPr>
                <p:cNvPr id="41" name="Freeform 104">
                  <a:extLst>
                    <a:ext uri="{FF2B5EF4-FFF2-40B4-BE49-F238E27FC236}">
                      <a16:creationId xmlns:a16="http://schemas.microsoft.com/office/drawing/2014/main" id="{64D94BB6-96A5-4415-9121-0AB97AA6CC31}"/>
                    </a:ext>
                  </a:extLst>
                </p:cNvPr>
                <p:cNvSpPr>
                  <a:spLocks/>
                </p:cNvSpPr>
                <p:nvPr/>
              </p:nvSpPr>
              <p:spPr bwMode="gray">
                <a:xfrm>
                  <a:off x="-1490663" y="3248025"/>
                  <a:ext cx="434975" cy="603250"/>
                </a:xfrm>
                <a:custGeom>
                  <a:avLst/>
                  <a:gdLst/>
                  <a:ahLst/>
                  <a:cxnLst>
                    <a:cxn ang="0">
                      <a:pos x="108" y="42"/>
                    </a:cxn>
                    <a:cxn ang="0">
                      <a:pos x="92" y="42"/>
                    </a:cxn>
                    <a:cxn ang="0">
                      <a:pos x="62" y="10"/>
                    </a:cxn>
                    <a:cxn ang="0">
                      <a:pos x="32" y="36"/>
                    </a:cxn>
                    <a:cxn ang="0">
                      <a:pos x="77" y="66"/>
                    </a:cxn>
                    <a:cxn ang="0">
                      <a:pos x="116" y="111"/>
                    </a:cxn>
                    <a:cxn ang="0">
                      <a:pos x="50" y="161"/>
                    </a:cxn>
                    <a:cxn ang="0">
                      <a:pos x="0" y="153"/>
                    </a:cxn>
                    <a:cxn ang="0">
                      <a:pos x="0" y="113"/>
                    </a:cxn>
                    <a:cxn ang="0">
                      <a:pos x="17" y="113"/>
                    </a:cxn>
                    <a:cxn ang="0">
                      <a:pos x="52" y="151"/>
                    </a:cxn>
                    <a:cxn ang="0">
                      <a:pos x="84" y="122"/>
                    </a:cxn>
                    <a:cxn ang="0">
                      <a:pos x="67" y="98"/>
                    </a:cxn>
                    <a:cxn ang="0">
                      <a:pos x="0" y="46"/>
                    </a:cxn>
                    <a:cxn ang="0">
                      <a:pos x="61" y="0"/>
                    </a:cxn>
                    <a:cxn ang="0">
                      <a:pos x="108" y="7"/>
                    </a:cxn>
                    <a:cxn ang="0">
                      <a:pos x="108" y="42"/>
                    </a:cxn>
                  </a:cxnLst>
                  <a:rect l="0" t="0" r="r" b="b"/>
                  <a:pathLst>
                    <a:path w="116" h="161">
                      <a:moveTo>
                        <a:pt x="108" y="42"/>
                      </a:moveTo>
                      <a:cubicBezTo>
                        <a:pt x="92" y="42"/>
                        <a:pt x="92" y="42"/>
                        <a:pt x="92" y="42"/>
                      </a:cubicBezTo>
                      <a:cubicBezTo>
                        <a:pt x="91" y="23"/>
                        <a:pt x="84" y="10"/>
                        <a:pt x="62" y="10"/>
                      </a:cubicBezTo>
                      <a:cubicBezTo>
                        <a:pt x="45" y="10"/>
                        <a:pt x="32" y="18"/>
                        <a:pt x="32" y="36"/>
                      </a:cubicBezTo>
                      <a:cubicBezTo>
                        <a:pt x="32" y="59"/>
                        <a:pt x="60" y="61"/>
                        <a:pt x="77" y="66"/>
                      </a:cubicBezTo>
                      <a:cubicBezTo>
                        <a:pt x="101" y="74"/>
                        <a:pt x="116" y="82"/>
                        <a:pt x="116" y="111"/>
                      </a:cubicBezTo>
                      <a:cubicBezTo>
                        <a:pt x="116" y="149"/>
                        <a:pt x="83" y="161"/>
                        <a:pt x="50" y="161"/>
                      </a:cubicBezTo>
                      <a:cubicBezTo>
                        <a:pt x="32" y="161"/>
                        <a:pt x="17" y="157"/>
                        <a:pt x="0" y="153"/>
                      </a:cubicBezTo>
                      <a:cubicBezTo>
                        <a:pt x="0" y="113"/>
                        <a:pt x="0" y="113"/>
                        <a:pt x="0" y="113"/>
                      </a:cubicBezTo>
                      <a:cubicBezTo>
                        <a:pt x="17" y="113"/>
                        <a:pt x="17" y="113"/>
                        <a:pt x="17" y="113"/>
                      </a:cubicBezTo>
                      <a:cubicBezTo>
                        <a:pt x="19" y="138"/>
                        <a:pt x="25" y="151"/>
                        <a:pt x="52" y="151"/>
                      </a:cubicBezTo>
                      <a:cubicBezTo>
                        <a:pt x="70" y="151"/>
                        <a:pt x="84" y="140"/>
                        <a:pt x="84" y="122"/>
                      </a:cubicBezTo>
                      <a:cubicBezTo>
                        <a:pt x="84" y="110"/>
                        <a:pt x="79" y="102"/>
                        <a:pt x="67" y="98"/>
                      </a:cubicBezTo>
                      <a:cubicBezTo>
                        <a:pt x="38" y="87"/>
                        <a:pt x="0" y="86"/>
                        <a:pt x="0" y="46"/>
                      </a:cubicBezTo>
                      <a:cubicBezTo>
                        <a:pt x="0" y="12"/>
                        <a:pt x="32" y="0"/>
                        <a:pt x="61" y="0"/>
                      </a:cubicBezTo>
                      <a:cubicBezTo>
                        <a:pt x="75" y="0"/>
                        <a:pt x="92" y="2"/>
                        <a:pt x="108" y="7"/>
                      </a:cubicBezTo>
                      <a:lnTo>
                        <a:pt x="108" y="42"/>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2" name="Freeform 105">
                  <a:extLst>
                    <a:ext uri="{FF2B5EF4-FFF2-40B4-BE49-F238E27FC236}">
                      <a16:creationId xmlns:a16="http://schemas.microsoft.com/office/drawing/2014/main" id="{4CA96623-7BC8-4062-A587-20DDD4431504}"/>
                    </a:ext>
                  </a:extLst>
                </p:cNvPr>
                <p:cNvSpPr>
                  <a:spLocks/>
                </p:cNvSpPr>
                <p:nvPr/>
              </p:nvSpPr>
              <p:spPr bwMode="gray">
                <a:xfrm>
                  <a:off x="-384175" y="3341688"/>
                  <a:ext cx="503238" cy="504825"/>
                </a:xfrm>
                <a:custGeom>
                  <a:avLst/>
                  <a:gdLst/>
                  <a:ahLst/>
                  <a:cxnLst>
                    <a:cxn ang="0">
                      <a:pos x="70" y="74"/>
                    </a:cxn>
                    <a:cxn ang="0">
                      <a:pos x="106" y="74"/>
                    </a:cxn>
                    <a:cxn ang="0">
                      <a:pos x="134" y="74"/>
                    </a:cxn>
                    <a:cxn ang="0">
                      <a:pos x="134" y="82"/>
                    </a:cxn>
                    <a:cxn ang="0">
                      <a:pos x="120" y="97"/>
                    </a:cxn>
                    <a:cxn ang="0">
                      <a:pos x="120" y="127"/>
                    </a:cxn>
                    <a:cxn ang="0">
                      <a:pos x="82" y="134"/>
                    </a:cxn>
                    <a:cxn ang="0">
                      <a:pos x="64" y="135"/>
                    </a:cxn>
                    <a:cxn ang="0">
                      <a:pos x="0" y="70"/>
                    </a:cxn>
                    <a:cxn ang="0">
                      <a:pos x="70" y="0"/>
                    </a:cxn>
                    <a:cxn ang="0">
                      <a:pos x="117" y="5"/>
                    </a:cxn>
                    <a:cxn ang="0">
                      <a:pos x="117" y="38"/>
                    </a:cxn>
                    <a:cxn ang="0">
                      <a:pos x="103" y="38"/>
                    </a:cxn>
                    <a:cxn ang="0">
                      <a:pos x="70" y="8"/>
                    </a:cxn>
                    <a:cxn ang="0">
                      <a:pos x="31" y="71"/>
                    </a:cxn>
                    <a:cxn ang="0">
                      <a:pos x="68" y="128"/>
                    </a:cxn>
                    <a:cxn ang="0">
                      <a:pos x="91" y="119"/>
                    </a:cxn>
                    <a:cxn ang="0">
                      <a:pos x="93" y="97"/>
                    </a:cxn>
                    <a:cxn ang="0">
                      <a:pos x="70" y="82"/>
                    </a:cxn>
                    <a:cxn ang="0">
                      <a:pos x="70" y="74"/>
                    </a:cxn>
                  </a:cxnLst>
                  <a:rect l="0" t="0" r="r" b="b"/>
                  <a:pathLst>
                    <a:path w="134" h="135">
                      <a:moveTo>
                        <a:pt x="70" y="74"/>
                      </a:moveTo>
                      <a:cubicBezTo>
                        <a:pt x="85" y="74"/>
                        <a:pt x="96" y="74"/>
                        <a:pt x="106" y="74"/>
                      </a:cubicBezTo>
                      <a:cubicBezTo>
                        <a:pt x="117" y="74"/>
                        <a:pt x="128" y="74"/>
                        <a:pt x="134" y="74"/>
                      </a:cubicBezTo>
                      <a:cubicBezTo>
                        <a:pt x="134" y="82"/>
                        <a:pt x="134" y="82"/>
                        <a:pt x="134" y="82"/>
                      </a:cubicBezTo>
                      <a:cubicBezTo>
                        <a:pt x="118" y="81"/>
                        <a:pt x="120" y="91"/>
                        <a:pt x="120" y="97"/>
                      </a:cubicBezTo>
                      <a:cubicBezTo>
                        <a:pt x="120" y="127"/>
                        <a:pt x="120" y="127"/>
                        <a:pt x="120" y="127"/>
                      </a:cubicBezTo>
                      <a:cubicBezTo>
                        <a:pt x="107" y="127"/>
                        <a:pt x="95" y="132"/>
                        <a:pt x="82" y="134"/>
                      </a:cubicBezTo>
                      <a:cubicBezTo>
                        <a:pt x="76" y="135"/>
                        <a:pt x="70" y="135"/>
                        <a:pt x="64" y="135"/>
                      </a:cubicBezTo>
                      <a:cubicBezTo>
                        <a:pt x="21" y="135"/>
                        <a:pt x="0" y="113"/>
                        <a:pt x="0" y="70"/>
                      </a:cubicBezTo>
                      <a:cubicBezTo>
                        <a:pt x="0" y="21"/>
                        <a:pt x="21" y="0"/>
                        <a:pt x="70" y="0"/>
                      </a:cubicBezTo>
                      <a:cubicBezTo>
                        <a:pt x="88" y="0"/>
                        <a:pt x="100" y="2"/>
                        <a:pt x="117" y="5"/>
                      </a:cubicBezTo>
                      <a:cubicBezTo>
                        <a:pt x="117" y="38"/>
                        <a:pt x="117" y="38"/>
                        <a:pt x="117" y="38"/>
                      </a:cubicBezTo>
                      <a:cubicBezTo>
                        <a:pt x="103" y="38"/>
                        <a:pt x="103" y="38"/>
                        <a:pt x="103" y="38"/>
                      </a:cubicBezTo>
                      <a:cubicBezTo>
                        <a:pt x="100" y="14"/>
                        <a:pt x="97" y="8"/>
                        <a:pt x="70" y="8"/>
                      </a:cubicBezTo>
                      <a:cubicBezTo>
                        <a:pt x="35" y="8"/>
                        <a:pt x="31" y="41"/>
                        <a:pt x="31" y="71"/>
                      </a:cubicBezTo>
                      <a:cubicBezTo>
                        <a:pt x="31" y="97"/>
                        <a:pt x="36" y="128"/>
                        <a:pt x="68" y="128"/>
                      </a:cubicBezTo>
                      <a:cubicBezTo>
                        <a:pt x="76" y="128"/>
                        <a:pt x="87" y="125"/>
                        <a:pt x="91" y="119"/>
                      </a:cubicBezTo>
                      <a:cubicBezTo>
                        <a:pt x="93" y="118"/>
                        <a:pt x="93" y="116"/>
                        <a:pt x="93" y="97"/>
                      </a:cubicBezTo>
                      <a:cubicBezTo>
                        <a:pt x="92" y="85"/>
                        <a:pt x="96" y="81"/>
                        <a:pt x="70" y="82"/>
                      </a:cubicBezTo>
                      <a:lnTo>
                        <a:pt x="70" y="7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3" name="Freeform 106">
                  <a:extLst>
                    <a:ext uri="{FF2B5EF4-FFF2-40B4-BE49-F238E27FC236}">
                      <a16:creationId xmlns:a16="http://schemas.microsoft.com/office/drawing/2014/main" id="{FE011973-CC95-459C-A28C-547005E724B4}"/>
                    </a:ext>
                  </a:extLst>
                </p:cNvPr>
                <p:cNvSpPr>
                  <a:spLocks/>
                </p:cNvSpPr>
                <p:nvPr/>
              </p:nvSpPr>
              <p:spPr bwMode="gray">
                <a:xfrm>
                  <a:off x="174625" y="3348038"/>
                  <a:ext cx="390525" cy="495300"/>
                </a:xfrm>
                <a:custGeom>
                  <a:avLst/>
                  <a:gdLst/>
                  <a:ahLst/>
                  <a:cxnLst>
                    <a:cxn ang="0">
                      <a:pos x="16" y="24"/>
                    </a:cxn>
                    <a:cxn ang="0">
                      <a:pos x="0" y="8"/>
                    </a:cxn>
                    <a:cxn ang="0">
                      <a:pos x="0" y="0"/>
                    </a:cxn>
                    <a:cxn ang="0">
                      <a:pos x="104" y="0"/>
                    </a:cxn>
                    <a:cxn ang="0">
                      <a:pos x="104" y="32"/>
                    </a:cxn>
                    <a:cxn ang="0">
                      <a:pos x="90" y="32"/>
                    </a:cxn>
                    <a:cxn ang="0">
                      <a:pos x="62" y="9"/>
                    </a:cxn>
                    <a:cxn ang="0">
                      <a:pos x="43" y="9"/>
                    </a:cxn>
                    <a:cxn ang="0">
                      <a:pos x="43" y="58"/>
                    </a:cxn>
                    <a:cxn ang="0">
                      <a:pos x="55" y="58"/>
                    </a:cxn>
                    <a:cxn ang="0">
                      <a:pos x="69" y="39"/>
                    </a:cxn>
                    <a:cxn ang="0">
                      <a:pos x="79" y="39"/>
                    </a:cxn>
                    <a:cxn ang="0">
                      <a:pos x="79" y="62"/>
                    </a:cxn>
                    <a:cxn ang="0">
                      <a:pos x="79" y="84"/>
                    </a:cxn>
                    <a:cxn ang="0">
                      <a:pos x="69" y="84"/>
                    </a:cxn>
                    <a:cxn ang="0">
                      <a:pos x="55" y="66"/>
                    </a:cxn>
                    <a:cxn ang="0">
                      <a:pos x="43" y="66"/>
                    </a:cxn>
                    <a:cxn ang="0">
                      <a:pos x="43" y="123"/>
                    </a:cxn>
                    <a:cxn ang="0">
                      <a:pos x="64" y="123"/>
                    </a:cxn>
                    <a:cxn ang="0">
                      <a:pos x="90" y="96"/>
                    </a:cxn>
                    <a:cxn ang="0">
                      <a:pos x="104" y="96"/>
                    </a:cxn>
                    <a:cxn ang="0">
                      <a:pos x="104" y="132"/>
                    </a:cxn>
                    <a:cxn ang="0">
                      <a:pos x="0" y="132"/>
                    </a:cxn>
                    <a:cxn ang="0">
                      <a:pos x="0" y="124"/>
                    </a:cxn>
                    <a:cxn ang="0">
                      <a:pos x="16" y="109"/>
                    </a:cxn>
                    <a:cxn ang="0">
                      <a:pos x="16" y="24"/>
                    </a:cxn>
                  </a:cxnLst>
                  <a:rect l="0" t="0" r="r" b="b"/>
                  <a:pathLst>
                    <a:path w="104" h="132">
                      <a:moveTo>
                        <a:pt x="16" y="24"/>
                      </a:moveTo>
                      <a:cubicBezTo>
                        <a:pt x="15" y="13"/>
                        <a:pt x="18" y="8"/>
                        <a:pt x="0" y="8"/>
                      </a:cubicBezTo>
                      <a:cubicBezTo>
                        <a:pt x="0" y="0"/>
                        <a:pt x="0" y="0"/>
                        <a:pt x="0" y="0"/>
                      </a:cubicBezTo>
                      <a:cubicBezTo>
                        <a:pt x="104" y="0"/>
                        <a:pt x="104" y="0"/>
                        <a:pt x="104" y="0"/>
                      </a:cubicBezTo>
                      <a:cubicBezTo>
                        <a:pt x="104" y="32"/>
                        <a:pt x="104" y="32"/>
                        <a:pt x="104" y="32"/>
                      </a:cubicBezTo>
                      <a:cubicBezTo>
                        <a:pt x="90" y="32"/>
                        <a:pt x="90" y="32"/>
                        <a:pt x="90" y="32"/>
                      </a:cubicBezTo>
                      <a:cubicBezTo>
                        <a:pt x="87" y="11"/>
                        <a:pt x="87" y="9"/>
                        <a:pt x="62" y="9"/>
                      </a:cubicBezTo>
                      <a:cubicBezTo>
                        <a:pt x="43" y="9"/>
                        <a:pt x="43" y="9"/>
                        <a:pt x="43" y="9"/>
                      </a:cubicBezTo>
                      <a:cubicBezTo>
                        <a:pt x="43" y="58"/>
                        <a:pt x="43" y="58"/>
                        <a:pt x="43" y="58"/>
                      </a:cubicBezTo>
                      <a:cubicBezTo>
                        <a:pt x="55" y="58"/>
                        <a:pt x="55" y="58"/>
                        <a:pt x="55" y="58"/>
                      </a:cubicBezTo>
                      <a:cubicBezTo>
                        <a:pt x="66" y="58"/>
                        <a:pt x="68" y="50"/>
                        <a:pt x="69" y="39"/>
                      </a:cubicBezTo>
                      <a:cubicBezTo>
                        <a:pt x="79" y="39"/>
                        <a:pt x="79" y="39"/>
                        <a:pt x="79" y="39"/>
                      </a:cubicBezTo>
                      <a:cubicBezTo>
                        <a:pt x="79" y="47"/>
                        <a:pt x="79" y="54"/>
                        <a:pt x="79" y="62"/>
                      </a:cubicBezTo>
                      <a:cubicBezTo>
                        <a:pt x="79" y="69"/>
                        <a:pt x="79" y="77"/>
                        <a:pt x="79" y="84"/>
                      </a:cubicBezTo>
                      <a:cubicBezTo>
                        <a:pt x="69" y="84"/>
                        <a:pt x="69" y="84"/>
                        <a:pt x="69" y="84"/>
                      </a:cubicBezTo>
                      <a:cubicBezTo>
                        <a:pt x="68" y="74"/>
                        <a:pt x="67" y="66"/>
                        <a:pt x="55" y="66"/>
                      </a:cubicBezTo>
                      <a:cubicBezTo>
                        <a:pt x="43" y="66"/>
                        <a:pt x="43" y="66"/>
                        <a:pt x="43" y="66"/>
                      </a:cubicBezTo>
                      <a:cubicBezTo>
                        <a:pt x="43" y="123"/>
                        <a:pt x="43" y="123"/>
                        <a:pt x="43" y="123"/>
                      </a:cubicBezTo>
                      <a:cubicBezTo>
                        <a:pt x="64" y="123"/>
                        <a:pt x="64" y="123"/>
                        <a:pt x="64" y="123"/>
                      </a:cubicBezTo>
                      <a:cubicBezTo>
                        <a:pt x="87" y="123"/>
                        <a:pt x="87" y="117"/>
                        <a:pt x="90" y="96"/>
                      </a:cubicBezTo>
                      <a:cubicBezTo>
                        <a:pt x="104" y="96"/>
                        <a:pt x="104" y="96"/>
                        <a:pt x="104" y="96"/>
                      </a:cubicBezTo>
                      <a:cubicBezTo>
                        <a:pt x="104" y="132"/>
                        <a:pt x="104" y="132"/>
                        <a:pt x="104" y="132"/>
                      </a:cubicBezTo>
                      <a:cubicBezTo>
                        <a:pt x="0" y="132"/>
                        <a:pt x="0" y="132"/>
                        <a:pt x="0" y="132"/>
                      </a:cubicBezTo>
                      <a:cubicBezTo>
                        <a:pt x="0" y="124"/>
                        <a:pt x="0" y="124"/>
                        <a:pt x="0" y="124"/>
                      </a:cubicBezTo>
                      <a:cubicBezTo>
                        <a:pt x="18" y="124"/>
                        <a:pt x="15" y="120"/>
                        <a:pt x="16" y="109"/>
                      </a:cubicBezTo>
                      <a:lnTo>
                        <a:pt x="16" y="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4" name="Freeform 107">
                  <a:extLst>
                    <a:ext uri="{FF2B5EF4-FFF2-40B4-BE49-F238E27FC236}">
                      <a16:creationId xmlns:a16="http://schemas.microsoft.com/office/drawing/2014/main" id="{05B37B8A-A70D-411D-8FCB-CD56CDF0003A}"/>
                    </a:ext>
                  </a:extLst>
                </p:cNvPr>
                <p:cNvSpPr>
                  <a:spLocks/>
                </p:cNvSpPr>
                <p:nvPr/>
              </p:nvSpPr>
              <p:spPr bwMode="gray">
                <a:xfrm>
                  <a:off x="625475" y="3348038"/>
                  <a:ext cx="449263" cy="495300"/>
                </a:xfrm>
                <a:custGeom>
                  <a:avLst/>
                  <a:gdLst/>
                  <a:ahLst/>
                  <a:cxnLst>
                    <a:cxn ang="0">
                      <a:pos x="27" y="124"/>
                    </a:cxn>
                    <a:cxn ang="0">
                      <a:pos x="46" y="109"/>
                    </a:cxn>
                    <a:cxn ang="0">
                      <a:pos x="46" y="9"/>
                    </a:cxn>
                    <a:cxn ang="0">
                      <a:pos x="38" y="9"/>
                    </a:cxn>
                    <a:cxn ang="0">
                      <a:pos x="14" y="35"/>
                    </a:cxn>
                    <a:cxn ang="0">
                      <a:pos x="0" y="35"/>
                    </a:cxn>
                    <a:cxn ang="0">
                      <a:pos x="0" y="0"/>
                    </a:cxn>
                    <a:cxn ang="0">
                      <a:pos x="120" y="0"/>
                    </a:cxn>
                    <a:cxn ang="0">
                      <a:pos x="120" y="35"/>
                    </a:cxn>
                    <a:cxn ang="0">
                      <a:pos x="106" y="35"/>
                    </a:cxn>
                    <a:cxn ang="0">
                      <a:pos x="82" y="9"/>
                    </a:cxn>
                    <a:cxn ang="0">
                      <a:pos x="74" y="9"/>
                    </a:cxn>
                    <a:cxn ang="0">
                      <a:pos x="74" y="109"/>
                    </a:cxn>
                    <a:cxn ang="0">
                      <a:pos x="93" y="124"/>
                    </a:cxn>
                    <a:cxn ang="0">
                      <a:pos x="93" y="132"/>
                    </a:cxn>
                    <a:cxn ang="0">
                      <a:pos x="27" y="132"/>
                    </a:cxn>
                    <a:cxn ang="0">
                      <a:pos x="27" y="124"/>
                    </a:cxn>
                  </a:cxnLst>
                  <a:rect l="0" t="0" r="r" b="b"/>
                  <a:pathLst>
                    <a:path w="120" h="132">
                      <a:moveTo>
                        <a:pt x="27" y="124"/>
                      </a:moveTo>
                      <a:cubicBezTo>
                        <a:pt x="48" y="124"/>
                        <a:pt x="46" y="122"/>
                        <a:pt x="46" y="109"/>
                      </a:cubicBezTo>
                      <a:cubicBezTo>
                        <a:pt x="46" y="9"/>
                        <a:pt x="46" y="9"/>
                        <a:pt x="46" y="9"/>
                      </a:cubicBezTo>
                      <a:cubicBezTo>
                        <a:pt x="38" y="9"/>
                        <a:pt x="38" y="9"/>
                        <a:pt x="38" y="9"/>
                      </a:cubicBezTo>
                      <a:cubicBezTo>
                        <a:pt x="17" y="9"/>
                        <a:pt x="17" y="14"/>
                        <a:pt x="14" y="35"/>
                      </a:cubicBezTo>
                      <a:cubicBezTo>
                        <a:pt x="0" y="35"/>
                        <a:pt x="0" y="35"/>
                        <a:pt x="0" y="35"/>
                      </a:cubicBezTo>
                      <a:cubicBezTo>
                        <a:pt x="0" y="0"/>
                        <a:pt x="0" y="0"/>
                        <a:pt x="0" y="0"/>
                      </a:cubicBezTo>
                      <a:cubicBezTo>
                        <a:pt x="120" y="0"/>
                        <a:pt x="120" y="0"/>
                        <a:pt x="120" y="0"/>
                      </a:cubicBezTo>
                      <a:cubicBezTo>
                        <a:pt x="120" y="35"/>
                        <a:pt x="120" y="35"/>
                        <a:pt x="120" y="35"/>
                      </a:cubicBezTo>
                      <a:cubicBezTo>
                        <a:pt x="106" y="35"/>
                        <a:pt x="106" y="35"/>
                        <a:pt x="106" y="35"/>
                      </a:cubicBezTo>
                      <a:cubicBezTo>
                        <a:pt x="103" y="14"/>
                        <a:pt x="103" y="9"/>
                        <a:pt x="82" y="9"/>
                      </a:cubicBezTo>
                      <a:cubicBezTo>
                        <a:pt x="74" y="9"/>
                        <a:pt x="74" y="9"/>
                        <a:pt x="74" y="9"/>
                      </a:cubicBezTo>
                      <a:cubicBezTo>
                        <a:pt x="74" y="109"/>
                        <a:pt x="74" y="109"/>
                        <a:pt x="74" y="109"/>
                      </a:cubicBezTo>
                      <a:cubicBezTo>
                        <a:pt x="74" y="122"/>
                        <a:pt x="72" y="124"/>
                        <a:pt x="93" y="124"/>
                      </a:cubicBezTo>
                      <a:cubicBezTo>
                        <a:pt x="93" y="132"/>
                        <a:pt x="93" y="132"/>
                        <a:pt x="93" y="132"/>
                      </a:cubicBezTo>
                      <a:cubicBezTo>
                        <a:pt x="27" y="132"/>
                        <a:pt x="27" y="132"/>
                        <a:pt x="27" y="132"/>
                      </a:cubicBezTo>
                      <a:lnTo>
                        <a:pt x="27" y="124"/>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5" name="Freeform 108">
                  <a:extLst>
                    <a:ext uri="{FF2B5EF4-FFF2-40B4-BE49-F238E27FC236}">
                      <a16:creationId xmlns:a16="http://schemas.microsoft.com/office/drawing/2014/main" id="{2CED0D95-9CBE-4C23-8758-9604F9E602AC}"/>
                    </a:ext>
                  </a:extLst>
                </p:cNvPr>
                <p:cNvSpPr>
                  <a:spLocks/>
                </p:cNvSpPr>
                <p:nvPr/>
              </p:nvSpPr>
              <p:spPr bwMode="gray">
                <a:xfrm>
                  <a:off x="1123950" y="3348038"/>
                  <a:ext cx="242888" cy="495300"/>
                </a:xfrm>
                <a:custGeom>
                  <a:avLst/>
                  <a:gdLst/>
                  <a:ahLst/>
                  <a:cxnLst>
                    <a:cxn ang="0">
                      <a:pos x="46" y="109"/>
                    </a:cxn>
                    <a:cxn ang="0">
                      <a:pos x="65" y="124"/>
                    </a:cxn>
                    <a:cxn ang="0">
                      <a:pos x="65" y="132"/>
                    </a:cxn>
                    <a:cxn ang="0">
                      <a:pos x="0" y="132"/>
                    </a:cxn>
                    <a:cxn ang="0">
                      <a:pos x="0" y="124"/>
                    </a:cxn>
                    <a:cxn ang="0">
                      <a:pos x="19" y="109"/>
                    </a:cxn>
                    <a:cxn ang="0">
                      <a:pos x="19" y="24"/>
                    </a:cxn>
                    <a:cxn ang="0">
                      <a:pos x="0" y="8"/>
                    </a:cxn>
                    <a:cxn ang="0">
                      <a:pos x="0" y="0"/>
                    </a:cxn>
                    <a:cxn ang="0">
                      <a:pos x="65" y="0"/>
                    </a:cxn>
                    <a:cxn ang="0">
                      <a:pos x="65" y="8"/>
                    </a:cxn>
                    <a:cxn ang="0">
                      <a:pos x="46" y="24"/>
                    </a:cxn>
                    <a:cxn ang="0">
                      <a:pos x="46" y="109"/>
                    </a:cxn>
                  </a:cxnLst>
                  <a:rect l="0" t="0" r="r" b="b"/>
                  <a:pathLst>
                    <a:path w="65" h="132">
                      <a:moveTo>
                        <a:pt x="46" y="109"/>
                      </a:moveTo>
                      <a:cubicBezTo>
                        <a:pt x="47" y="121"/>
                        <a:pt x="44" y="124"/>
                        <a:pt x="65" y="124"/>
                      </a:cubicBezTo>
                      <a:cubicBezTo>
                        <a:pt x="65" y="132"/>
                        <a:pt x="65" y="132"/>
                        <a:pt x="65" y="132"/>
                      </a:cubicBezTo>
                      <a:cubicBezTo>
                        <a:pt x="0" y="132"/>
                        <a:pt x="0" y="132"/>
                        <a:pt x="0" y="132"/>
                      </a:cubicBezTo>
                      <a:cubicBezTo>
                        <a:pt x="0" y="124"/>
                        <a:pt x="0" y="124"/>
                        <a:pt x="0" y="124"/>
                      </a:cubicBezTo>
                      <a:cubicBezTo>
                        <a:pt x="21" y="124"/>
                        <a:pt x="18" y="121"/>
                        <a:pt x="19" y="109"/>
                      </a:cubicBezTo>
                      <a:cubicBezTo>
                        <a:pt x="19" y="24"/>
                        <a:pt x="19" y="24"/>
                        <a:pt x="19" y="24"/>
                      </a:cubicBezTo>
                      <a:cubicBezTo>
                        <a:pt x="18" y="11"/>
                        <a:pt x="21" y="8"/>
                        <a:pt x="0" y="8"/>
                      </a:cubicBezTo>
                      <a:cubicBezTo>
                        <a:pt x="0" y="0"/>
                        <a:pt x="0" y="0"/>
                        <a:pt x="0" y="0"/>
                      </a:cubicBezTo>
                      <a:cubicBezTo>
                        <a:pt x="65" y="0"/>
                        <a:pt x="65" y="0"/>
                        <a:pt x="65" y="0"/>
                      </a:cubicBezTo>
                      <a:cubicBezTo>
                        <a:pt x="65" y="8"/>
                        <a:pt x="65" y="8"/>
                        <a:pt x="65" y="8"/>
                      </a:cubicBezTo>
                      <a:cubicBezTo>
                        <a:pt x="44" y="8"/>
                        <a:pt x="47" y="11"/>
                        <a:pt x="46" y="24"/>
                      </a:cubicBezTo>
                      <a:lnTo>
                        <a:pt x="46" y="109"/>
                      </a:lnTo>
                      <a:close/>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sp>
              <p:nvSpPr>
                <p:cNvPr id="46" name="Freeform 109">
                  <a:extLst>
                    <a:ext uri="{FF2B5EF4-FFF2-40B4-BE49-F238E27FC236}">
                      <a16:creationId xmlns:a16="http://schemas.microsoft.com/office/drawing/2014/main" id="{010BAFB4-9E8C-4AA4-AA4C-DFF431B2830F}"/>
                    </a:ext>
                  </a:extLst>
                </p:cNvPr>
                <p:cNvSpPr>
                  <a:spLocks noEditPoints="1"/>
                </p:cNvSpPr>
                <p:nvPr/>
              </p:nvSpPr>
              <p:spPr bwMode="gray">
                <a:xfrm>
                  <a:off x="-968375" y="3341688"/>
                  <a:ext cx="493713" cy="504825"/>
                </a:xfrm>
                <a:custGeom>
                  <a:avLst/>
                  <a:gdLst/>
                  <a:ahLst/>
                  <a:cxnLst>
                    <a:cxn ang="0">
                      <a:pos x="0" y="68"/>
                    </a:cxn>
                    <a:cxn ang="0">
                      <a:pos x="66" y="0"/>
                    </a:cxn>
                    <a:cxn ang="0">
                      <a:pos x="132" y="68"/>
                    </a:cxn>
                    <a:cxn ang="0">
                      <a:pos x="66" y="135"/>
                    </a:cxn>
                    <a:cxn ang="0">
                      <a:pos x="0" y="68"/>
                    </a:cxn>
                    <a:cxn ang="0">
                      <a:pos x="102" y="68"/>
                    </a:cxn>
                    <a:cxn ang="0">
                      <a:pos x="66" y="8"/>
                    </a:cxn>
                    <a:cxn ang="0">
                      <a:pos x="31" y="68"/>
                    </a:cxn>
                    <a:cxn ang="0">
                      <a:pos x="66" y="128"/>
                    </a:cxn>
                    <a:cxn ang="0">
                      <a:pos x="102" y="68"/>
                    </a:cxn>
                  </a:cxnLst>
                  <a:rect l="0" t="0" r="r" b="b"/>
                  <a:pathLst>
                    <a:path w="132" h="135">
                      <a:moveTo>
                        <a:pt x="0" y="68"/>
                      </a:moveTo>
                      <a:cubicBezTo>
                        <a:pt x="0" y="22"/>
                        <a:pt x="19" y="0"/>
                        <a:pt x="66" y="0"/>
                      </a:cubicBezTo>
                      <a:cubicBezTo>
                        <a:pt x="113" y="0"/>
                        <a:pt x="132" y="22"/>
                        <a:pt x="132" y="68"/>
                      </a:cubicBezTo>
                      <a:cubicBezTo>
                        <a:pt x="132" y="114"/>
                        <a:pt x="113" y="135"/>
                        <a:pt x="66" y="135"/>
                      </a:cubicBezTo>
                      <a:cubicBezTo>
                        <a:pt x="19" y="135"/>
                        <a:pt x="0" y="114"/>
                        <a:pt x="0" y="68"/>
                      </a:cubicBezTo>
                      <a:moveTo>
                        <a:pt x="102" y="68"/>
                      </a:moveTo>
                      <a:cubicBezTo>
                        <a:pt x="102" y="33"/>
                        <a:pt x="96" y="8"/>
                        <a:pt x="66" y="8"/>
                      </a:cubicBezTo>
                      <a:cubicBezTo>
                        <a:pt x="36" y="8"/>
                        <a:pt x="31" y="33"/>
                        <a:pt x="31" y="68"/>
                      </a:cubicBezTo>
                      <a:cubicBezTo>
                        <a:pt x="31" y="103"/>
                        <a:pt x="36" y="127"/>
                        <a:pt x="66" y="128"/>
                      </a:cubicBezTo>
                      <a:cubicBezTo>
                        <a:pt x="96" y="127"/>
                        <a:pt x="102" y="103"/>
                        <a:pt x="102" y="68"/>
                      </a:cubicBezTo>
                    </a:path>
                  </a:pathLst>
                </a:custGeom>
                <a:solidFill>
                  <a:srgbClr val="FFFFFF"/>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sp>
            <p:nvSpPr>
              <p:cNvPr id="40" name="Freeform 13">
                <a:extLst>
                  <a:ext uri="{FF2B5EF4-FFF2-40B4-BE49-F238E27FC236}">
                    <a16:creationId xmlns:a16="http://schemas.microsoft.com/office/drawing/2014/main" id="{9D27FB76-A833-48B3-91B0-35972F2E410D}"/>
                  </a:ext>
                </a:extLst>
              </p:cNvPr>
              <p:cNvSpPr>
                <a:spLocks/>
              </p:cNvSpPr>
              <p:nvPr/>
            </p:nvSpPr>
            <p:spPr bwMode="gray">
              <a:xfrm>
                <a:off x="2776451" y="2301485"/>
                <a:ext cx="440608" cy="269126"/>
              </a:xfrm>
              <a:custGeom>
                <a:avLst/>
                <a:gdLst/>
                <a:ahLst/>
                <a:cxnLst>
                  <a:cxn ang="0">
                    <a:pos x="115" y="282"/>
                  </a:cxn>
                  <a:cxn ang="0">
                    <a:pos x="117" y="276"/>
                  </a:cxn>
                  <a:cxn ang="0">
                    <a:pos x="195" y="209"/>
                  </a:cxn>
                  <a:cxn ang="0">
                    <a:pos x="194" y="207"/>
                  </a:cxn>
                  <a:cxn ang="0">
                    <a:pos x="116" y="243"/>
                  </a:cxn>
                  <a:cxn ang="0">
                    <a:pos x="63" y="237"/>
                  </a:cxn>
                  <a:cxn ang="0">
                    <a:pos x="6" y="182"/>
                  </a:cxn>
                  <a:cxn ang="0">
                    <a:pos x="6" y="133"/>
                  </a:cxn>
                  <a:cxn ang="0">
                    <a:pos x="26" y="103"/>
                  </a:cxn>
                  <a:cxn ang="0">
                    <a:pos x="87" y="74"/>
                  </a:cxn>
                  <a:cxn ang="0">
                    <a:pos x="124" y="66"/>
                  </a:cxn>
                  <a:cxn ang="0">
                    <a:pos x="124" y="66"/>
                  </a:cxn>
                  <a:cxn ang="0">
                    <a:pos x="231" y="0"/>
                  </a:cxn>
                  <a:cxn ang="0">
                    <a:pos x="339" y="66"/>
                  </a:cxn>
                  <a:cxn ang="0">
                    <a:pos x="338" y="66"/>
                  </a:cxn>
                  <a:cxn ang="0">
                    <a:pos x="376" y="74"/>
                  </a:cxn>
                  <a:cxn ang="0">
                    <a:pos x="437" y="103"/>
                  </a:cxn>
                  <a:cxn ang="0">
                    <a:pos x="457" y="133"/>
                  </a:cxn>
                  <a:cxn ang="0">
                    <a:pos x="457" y="182"/>
                  </a:cxn>
                  <a:cxn ang="0">
                    <a:pos x="399" y="237"/>
                  </a:cxn>
                  <a:cxn ang="0">
                    <a:pos x="347" y="243"/>
                  </a:cxn>
                  <a:cxn ang="0">
                    <a:pos x="269" y="207"/>
                  </a:cxn>
                  <a:cxn ang="0">
                    <a:pos x="267" y="209"/>
                  </a:cxn>
                  <a:cxn ang="0">
                    <a:pos x="345" y="276"/>
                  </a:cxn>
                  <a:cxn ang="0">
                    <a:pos x="347" y="282"/>
                  </a:cxn>
                  <a:cxn ang="0">
                    <a:pos x="115" y="282"/>
                  </a:cxn>
                </a:cxnLst>
                <a:rect l="0" t="0" r="r" b="b"/>
                <a:pathLst>
                  <a:path w="462" h="282">
                    <a:moveTo>
                      <a:pt x="115" y="282"/>
                    </a:moveTo>
                    <a:cubicBezTo>
                      <a:pt x="115" y="279"/>
                      <a:pt x="115" y="277"/>
                      <a:pt x="117" y="276"/>
                    </a:cubicBezTo>
                    <a:cubicBezTo>
                      <a:pt x="149" y="266"/>
                      <a:pt x="176" y="244"/>
                      <a:pt x="195" y="209"/>
                    </a:cubicBezTo>
                    <a:cubicBezTo>
                      <a:pt x="195" y="208"/>
                      <a:pt x="194" y="207"/>
                      <a:pt x="194" y="207"/>
                    </a:cubicBezTo>
                    <a:cubicBezTo>
                      <a:pt x="152" y="238"/>
                      <a:pt x="139" y="240"/>
                      <a:pt x="116" y="243"/>
                    </a:cubicBezTo>
                    <a:cubicBezTo>
                      <a:pt x="98" y="246"/>
                      <a:pt x="80" y="243"/>
                      <a:pt x="63" y="237"/>
                    </a:cubicBezTo>
                    <a:cubicBezTo>
                      <a:pt x="37" y="228"/>
                      <a:pt x="14" y="210"/>
                      <a:pt x="6" y="182"/>
                    </a:cubicBezTo>
                    <a:cubicBezTo>
                      <a:pt x="1" y="166"/>
                      <a:pt x="0" y="149"/>
                      <a:pt x="6" y="133"/>
                    </a:cubicBezTo>
                    <a:cubicBezTo>
                      <a:pt x="10" y="121"/>
                      <a:pt x="16" y="111"/>
                      <a:pt x="26" y="103"/>
                    </a:cubicBezTo>
                    <a:cubicBezTo>
                      <a:pt x="44" y="87"/>
                      <a:pt x="64" y="80"/>
                      <a:pt x="87" y="74"/>
                    </a:cubicBezTo>
                    <a:cubicBezTo>
                      <a:pt x="99" y="71"/>
                      <a:pt x="112" y="68"/>
                      <a:pt x="124" y="66"/>
                    </a:cubicBezTo>
                    <a:cubicBezTo>
                      <a:pt x="124" y="66"/>
                      <a:pt x="124" y="66"/>
                      <a:pt x="124" y="66"/>
                    </a:cubicBezTo>
                    <a:cubicBezTo>
                      <a:pt x="187" y="52"/>
                      <a:pt x="202" y="51"/>
                      <a:pt x="231" y="0"/>
                    </a:cubicBezTo>
                    <a:cubicBezTo>
                      <a:pt x="261" y="51"/>
                      <a:pt x="275" y="52"/>
                      <a:pt x="339" y="66"/>
                    </a:cubicBezTo>
                    <a:cubicBezTo>
                      <a:pt x="338" y="66"/>
                      <a:pt x="338" y="66"/>
                      <a:pt x="338" y="66"/>
                    </a:cubicBezTo>
                    <a:cubicBezTo>
                      <a:pt x="351" y="68"/>
                      <a:pt x="363" y="71"/>
                      <a:pt x="376" y="74"/>
                    </a:cubicBezTo>
                    <a:cubicBezTo>
                      <a:pt x="398" y="80"/>
                      <a:pt x="419" y="87"/>
                      <a:pt x="437" y="103"/>
                    </a:cubicBezTo>
                    <a:cubicBezTo>
                      <a:pt x="447" y="111"/>
                      <a:pt x="453" y="121"/>
                      <a:pt x="457" y="133"/>
                    </a:cubicBezTo>
                    <a:cubicBezTo>
                      <a:pt x="462" y="149"/>
                      <a:pt x="462" y="166"/>
                      <a:pt x="457" y="182"/>
                    </a:cubicBezTo>
                    <a:cubicBezTo>
                      <a:pt x="448" y="210"/>
                      <a:pt x="425" y="228"/>
                      <a:pt x="399" y="237"/>
                    </a:cubicBezTo>
                    <a:cubicBezTo>
                      <a:pt x="382" y="243"/>
                      <a:pt x="364" y="246"/>
                      <a:pt x="347" y="243"/>
                    </a:cubicBezTo>
                    <a:cubicBezTo>
                      <a:pt x="324" y="240"/>
                      <a:pt x="310" y="238"/>
                      <a:pt x="269" y="207"/>
                    </a:cubicBezTo>
                    <a:cubicBezTo>
                      <a:pt x="268" y="207"/>
                      <a:pt x="267" y="208"/>
                      <a:pt x="267" y="209"/>
                    </a:cubicBezTo>
                    <a:cubicBezTo>
                      <a:pt x="287" y="244"/>
                      <a:pt x="313" y="266"/>
                      <a:pt x="345" y="276"/>
                    </a:cubicBezTo>
                    <a:cubicBezTo>
                      <a:pt x="347" y="277"/>
                      <a:pt x="348" y="279"/>
                      <a:pt x="347" y="282"/>
                    </a:cubicBezTo>
                    <a:lnTo>
                      <a:pt x="115" y="282"/>
                    </a:lnTo>
                    <a:close/>
                  </a:path>
                </a:pathLst>
              </a:custGeom>
              <a:solidFill>
                <a:schemeClr val="accent1"/>
              </a:solidFill>
              <a:ln w="9525">
                <a:noFill/>
                <a:round/>
                <a:headEnd/>
                <a:tailEnd/>
              </a:ln>
            </p:spPr>
            <p:txBody>
              <a:bodyPr vert="horz" wrap="square" lIns="121888" tIns="60944" rIns="121888" bIns="60944" numCol="1" anchor="t" anchorCtr="0" compatLnSpc="1">
                <a:prstTxWarp prst="textNoShape">
                  <a:avLst/>
                </a:prstTxWarp>
              </a:bodyPr>
              <a:lstStyle/>
              <a:p>
                <a:endParaRPr lang="nl-NL" sz="2399"/>
              </a:p>
            </p:txBody>
          </p:sp>
        </p:grpSp>
      </p:grpSp>
      <p:sp>
        <p:nvSpPr>
          <p:cNvPr id="47" name="1a">
            <a:extLst>
              <a:ext uri="{FF2B5EF4-FFF2-40B4-BE49-F238E27FC236}">
                <a16:creationId xmlns:a16="http://schemas.microsoft.com/office/drawing/2014/main" id="{0FEA461B-7828-4964-8D6B-38788BE0AE19}"/>
              </a:ext>
            </a:extLst>
          </p:cNvPr>
          <p:cNvSpPr/>
          <p:nvPr/>
        </p:nvSpPr>
        <p:spPr>
          <a:xfrm>
            <a:off x="1338506" y="3471955"/>
            <a:ext cx="343083" cy="34308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b="1" dirty="0">
              <a:solidFill>
                <a:schemeClr val="accent2"/>
              </a:solidFill>
            </a:endParaRPr>
          </a:p>
        </p:txBody>
      </p:sp>
      <p:grpSp>
        <p:nvGrpSpPr>
          <p:cNvPr id="20" name="Group 19">
            <a:extLst>
              <a:ext uri="{FF2B5EF4-FFF2-40B4-BE49-F238E27FC236}">
                <a16:creationId xmlns:a16="http://schemas.microsoft.com/office/drawing/2014/main" id="{EF17DC3C-22BE-4327-BDFC-22A40004B843}"/>
              </a:ext>
            </a:extLst>
          </p:cNvPr>
          <p:cNvGrpSpPr/>
          <p:nvPr/>
        </p:nvGrpSpPr>
        <p:grpSpPr>
          <a:xfrm>
            <a:off x="455594" y="1536584"/>
            <a:ext cx="11277063" cy="4377230"/>
            <a:chOff x="407988" y="1429200"/>
            <a:chExt cx="11158812" cy="4013999"/>
          </a:xfrm>
        </p:grpSpPr>
        <p:pic>
          <p:nvPicPr>
            <p:cNvPr id="21" name="Image 2">
              <a:extLst>
                <a:ext uri="{FF2B5EF4-FFF2-40B4-BE49-F238E27FC236}">
                  <a16:creationId xmlns:a16="http://schemas.microsoft.com/office/drawing/2014/main" id="{FB33C92C-1E44-4C37-80C0-CD3FA2147747}"/>
                </a:ext>
              </a:extLst>
            </p:cNvPr>
            <p:cNvPicPr>
              <a:picLocks noChangeAspect="1"/>
            </p:cNvPicPr>
            <p:nvPr/>
          </p:nvPicPr>
          <p:blipFill>
            <a:blip r:embed="rId3"/>
            <a:stretch>
              <a:fillRect/>
            </a:stretch>
          </p:blipFill>
          <p:spPr>
            <a:xfrm>
              <a:off x="411197" y="1940371"/>
              <a:ext cx="3606236" cy="3411556"/>
            </a:xfrm>
            <a:prstGeom prst="rect">
              <a:avLst/>
            </a:prstGeom>
          </p:spPr>
        </p:pic>
        <p:sp>
          <p:nvSpPr>
            <p:cNvPr id="22" name="Rectangle 21">
              <a:extLst>
                <a:ext uri="{FF2B5EF4-FFF2-40B4-BE49-F238E27FC236}">
                  <a16:creationId xmlns:a16="http://schemas.microsoft.com/office/drawing/2014/main" id="{E2269457-0257-4153-80FA-F9398D5D6765}"/>
                </a:ext>
              </a:extLst>
            </p:cNvPr>
            <p:cNvSpPr/>
            <p:nvPr/>
          </p:nvSpPr>
          <p:spPr bwMode="auto">
            <a:xfrm>
              <a:off x="407988" y="1429200"/>
              <a:ext cx="3600000" cy="414000"/>
            </a:xfrm>
            <a:prstGeom prst="rect">
              <a:avLst/>
            </a:prstGeom>
            <a:solidFill>
              <a:schemeClr val="accent2"/>
            </a:solidFill>
            <a:ln w="6350" cap="flat" cmpd="sng" algn="ctr">
              <a:solidFill>
                <a:schemeClr val="bg1">
                  <a:lumMod val="75000"/>
                </a:schemeClr>
              </a:solidFill>
              <a:prstDash val="solid"/>
              <a:round/>
              <a:headEnd type="none" w="med" len="med"/>
              <a:tailEnd type="none" w="med" len="med"/>
            </a:ln>
            <a:effectLst/>
          </p:spPr>
          <p:txBody>
            <a:bodyPr vert="horz" wrap="none" lIns="121888" tIns="60944" rIns="121888" bIns="60944" numCol="1" rtlCol="0" anchor="ctr" anchorCtr="0" compatLnSpc="1">
              <a:prstTxWarp prst="textNoShape">
                <a:avLst/>
              </a:prstTxWarp>
            </a:bodyPr>
            <a:lstStyle/>
            <a:p>
              <a:pPr algn="ctr" eaLnBrk="0" fontAlgn="base" hangingPunct="0">
                <a:lnSpc>
                  <a:spcPct val="85000"/>
                </a:lnSpc>
                <a:spcBef>
                  <a:spcPct val="0"/>
                </a:spcBef>
                <a:spcAft>
                  <a:spcPct val="0"/>
                </a:spcAft>
              </a:pPr>
              <a:r>
                <a:rPr lang="en-GB" sz="1866" b="1" dirty="0">
                  <a:solidFill>
                    <a:schemeClr val="bg1"/>
                  </a:solidFill>
                  <a:cs typeface="Arial" charset="0"/>
                </a:rPr>
                <a:t>Individuals’ Rights</a:t>
              </a:r>
            </a:p>
          </p:txBody>
        </p:sp>
        <p:sp>
          <p:nvSpPr>
            <p:cNvPr id="23" name="Rectangle 22">
              <a:extLst>
                <a:ext uri="{FF2B5EF4-FFF2-40B4-BE49-F238E27FC236}">
                  <a16:creationId xmlns:a16="http://schemas.microsoft.com/office/drawing/2014/main" id="{24D064BB-7B94-4E2E-BA32-D2E4D9DA8251}"/>
                </a:ext>
              </a:extLst>
            </p:cNvPr>
            <p:cNvSpPr/>
            <p:nvPr/>
          </p:nvSpPr>
          <p:spPr bwMode="auto">
            <a:xfrm>
              <a:off x="407988" y="1843199"/>
              <a:ext cx="3600000" cy="3600000"/>
            </a:xfrm>
            <a:prstGeom prst="rect">
              <a:avLst/>
            </a:prstGeom>
            <a:no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marL="0" lvl="1" defTabSz="1276689">
                <a:spcBef>
                  <a:spcPts val="800"/>
                </a:spcBef>
              </a:pPr>
              <a:endParaRPr lang="en-US" sz="1333" dirty="0">
                <a:solidFill>
                  <a:srgbClr val="00234B"/>
                </a:solidFill>
              </a:endParaRPr>
            </a:p>
          </p:txBody>
        </p:sp>
        <p:sp>
          <p:nvSpPr>
            <p:cNvPr id="24" name="Rectangle 23">
              <a:extLst>
                <a:ext uri="{FF2B5EF4-FFF2-40B4-BE49-F238E27FC236}">
                  <a16:creationId xmlns:a16="http://schemas.microsoft.com/office/drawing/2014/main" id="{4F82D240-EEC1-4AA0-A7F6-E2F395C57533}"/>
                </a:ext>
              </a:extLst>
            </p:cNvPr>
            <p:cNvSpPr/>
            <p:nvPr/>
          </p:nvSpPr>
          <p:spPr bwMode="auto">
            <a:xfrm>
              <a:off x="4186782" y="1429200"/>
              <a:ext cx="3600000" cy="414000"/>
            </a:xfrm>
            <a:prstGeom prst="rect">
              <a:avLst/>
            </a:prstGeom>
            <a:solidFill>
              <a:schemeClr val="accent2"/>
            </a:solidFill>
            <a:ln w="6350" cap="flat" cmpd="sng" algn="ctr">
              <a:solidFill>
                <a:schemeClr val="bg1">
                  <a:lumMod val="75000"/>
                </a:schemeClr>
              </a:solidFill>
              <a:prstDash val="solid"/>
              <a:round/>
              <a:headEnd type="none" w="med" len="med"/>
              <a:tailEnd type="none" w="med" len="med"/>
            </a:ln>
            <a:effectLst/>
          </p:spPr>
          <p:txBody>
            <a:bodyPr vert="horz" wrap="none" lIns="121888" tIns="60944" rIns="121888" bIns="60944" numCol="1" rtlCol="0" anchor="ctr" anchorCtr="0" compatLnSpc="1">
              <a:prstTxWarp prst="textNoShape">
                <a:avLst/>
              </a:prstTxWarp>
            </a:bodyPr>
            <a:lstStyle/>
            <a:p>
              <a:pPr algn="ctr" eaLnBrk="0" fontAlgn="base" hangingPunct="0">
                <a:lnSpc>
                  <a:spcPct val="85000"/>
                </a:lnSpc>
                <a:spcBef>
                  <a:spcPct val="0"/>
                </a:spcBef>
                <a:spcAft>
                  <a:spcPct val="0"/>
                </a:spcAft>
              </a:pPr>
              <a:r>
                <a:rPr lang="en-GB" sz="1866" b="1" dirty="0">
                  <a:solidFill>
                    <a:schemeClr val="bg1"/>
                  </a:solidFill>
                  <a:cs typeface="Arial" charset="0"/>
                </a:rPr>
                <a:t>Obligations for Organisations</a:t>
              </a:r>
            </a:p>
          </p:txBody>
        </p:sp>
        <p:sp>
          <p:nvSpPr>
            <p:cNvPr id="25" name="Rectangle 24">
              <a:extLst>
                <a:ext uri="{FF2B5EF4-FFF2-40B4-BE49-F238E27FC236}">
                  <a16:creationId xmlns:a16="http://schemas.microsoft.com/office/drawing/2014/main" id="{0AAA8E8D-BBD6-4D2F-A43C-E2C5D61E0038}"/>
                </a:ext>
              </a:extLst>
            </p:cNvPr>
            <p:cNvSpPr/>
            <p:nvPr/>
          </p:nvSpPr>
          <p:spPr bwMode="auto">
            <a:xfrm>
              <a:off x="4186800" y="1843199"/>
              <a:ext cx="3600000" cy="3600000"/>
            </a:xfrm>
            <a:prstGeom prst="rect">
              <a:avLst/>
            </a:prstGeom>
            <a:no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marL="0" lvl="1" defTabSz="1276689">
                <a:spcBef>
                  <a:spcPts val="800"/>
                </a:spcBef>
              </a:pPr>
              <a:endParaRPr lang="en-US" sz="1333" dirty="0">
                <a:solidFill>
                  <a:srgbClr val="00234B"/>
                </a:solidFill>
              </a:endParaRPr>
            </a:p>
          </p:txBody>
        </p:sp>
        <p:sp>
          <p:nvSpPr>
            <p:cNvPr id="26" name="Rectangle 25">
              <a:extLst>
                <a:ext uri="{FF2B5EF4-FFF2-40B4-BE49-F238E27FC236}">
                  <a16:creationId xmlns:a16="http://schemas.microsoft.com/office/drawing/2014/main" id="{5C45FEA1-810D-413C-8962-B4A0C121550D}"/>
                </a:ext>
              </a:extLst>
            </p:cNvPr>
            <p:cNvSpPr/>
            <p:nvPr/>
          </p:nvSpPr>
          <p:spPr bwMode="auto">
            <a:xfrm>
              <a:off x="7965575" y="1429200"/>
              <a:ext cx="3600000" cy="414000"/>
            </a:xfrm>
            <a:prstGeom prst="rect">
              <a:avLst/>
            </a:prstGeom>
            <a:solidFill>
              <a:schemeClr val="accent2"/>
            </a:solidFill>
            <a:ln w="6350" cap="flat" cmpd="sng" algn="ctr">
              <a:solidFill>
                <a:schemeClr val="bg1">
                  <a:lumMod val="75000"/>
                </a:schemeClr>
              </a:solidFill>
              <a:prstDash val="solid"/>
              <a:round/>
              <a:headEnd type="none" w="med" len="med"/>
              <a:tailEnd type="none" w="med" len="med"/>
            </a:ln>
            <a:effectLst/>
          </p:spPr>
          <p:txBody>
            <a:bodyPr vert="horz" wrap="none" lIns="121888" tIns="60944" rIns="121888" bIns="60944" numCol="1" rtlCol="0" anchor="ctr" anchorCtr="0" compatLnSpc="1">
              <a:prstTxWarp prst="textNoShape">
                <a:avLst/>
              </a:prstTxWarp>
            </a:bodyPr>
            <a:lstStyle/>
            <a:p>
              <a:pPr algn="ctr" eaLnBrk="0" fontAlgn="base" hangingPunct="0">
                <a:lnSpc>
                  <a:spcPct val="85000"/>
                </a:lnSpc>
                <a:spcBef>
                  <a:spcPct val="0"/>
                </a:spcBef>
                <a:spcAft>
                  <a:spcPct val="0"/>
                </a:spcAft>
              </a:pPr>
              <a:r>
                <a:rPr lang="en-GB" sz="1866" b="1" dirty="0">
                  <a:solidFill>
                    <a:schemeClr val="bg1"/>
                  </a:solidFill>
                  <a:cs typeface="Arial" charset="0"/>
                </a:rPr>
                <a:t>Breach Response</a:t>
              </a:r>
            </a:p>
          </p:txBody>
        </p:sp>
        <p:sp>
          <p:nvSpPr>
            <p:cNvPr id="27" name="Rectangle 26">
              <a:extLst>
                <a:ext uri="{FF2B5EF4-FFF2-40B4-BE49-F238E27FC236}">
                  <a16:creationId xmlns:a16="http://schemas.microsoft.com/office/drawing/2014/main" id="{EF88C9F4-35B6-49BC-B43B-B87E95437730}"/>
                </a:ext>
              </a:extLst>
            </p:cNvPr>
            <p:cNvSpPr/>
            <p:nvPr/>
          </p:nvSpPr>
          <p:spPr bwMode="auto">
            <a:xfrm>
              <a:off x="7966800" y="1843199"/>
              <a:ext cx="3600000" cy="3600000"/>
            </a:xfrm>
            <a:prstGeom prst="rect">
              <a:avLst/>
            </a:prstGeom>
            <a:no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marL="0" lvl="1" defTabSz="1276689">
                <a:spcBef>
                  <a:spcPts val="800"/>
                </a:spcBef>
              </a:pPr>
              <a:endParaRPr lang="en-US" sz="1333" dirty="0">
                <a:solidFill>
                  <a:srgbClr val="00234B"/>
                </a:solidFill>
              </a:endParaRPr>
            </a:p>
          </p:txBody>
        </p:sp>
        <p:pic>
          <p:nvPicPr>
            <p:cNvPr id="29" name="Image 4">
              <a:extLst>
                <a:ext uri="{FF2B5EF4-FFF2-40B4-BE49-F238E27FC236}">
                  <a16:creationId xmlns:a16="http://schemas.microsoft.com/office/drawing/2014/main" id="{1712A7DB-7680-4A0C-8512-C74458EC5292}"/>
                </a:ext>
              </a:extLst>
            </p:cNvPr>
            <p:cNvPicPr>
              <a:picLocks noChangeAspect="1"/>
            </p:cNvPicPr>
            <p:nvPr/>
          </p:nvPicPr>
          <p:blipFill>
            <a:blip r:embed="rId4"/>
            <a:stretch>
              <a:fillRect/>
            </a:stretch>
          </p:blipFill>
          <p:spPr>
            <a:xfrm>
              <a:off x="4288145" y="1942786"/>
              <a:ext cx="3392031" cy="3409141"/>
            </a:xfrm>
            <a:prstGeom prst="rect">
              <a:avLst/>
            </a:prstGeom>
            <a:ln w="3175">
              <a:solidFill>
                <a:schemeClr val="bg1">
                  <a:lumMod val="50000"/>
                </a:schemeClr>
              </a:solidFill>
            </a:ln>
          </p:spPr>
        </p:pic>
        <p:pic>
          <p:nvPicPr>
            <p:cNvPr id="30" name="Image 5">
              <a:extLst>
                <a:ext uri="{FF2B5EF4-FFF2-40B4-BE49-F238E27FC236}">
                  <a16:creationId xmlns:a16="http://schemas.microsoft.com/office/drawing/2014/main" id="{CCC86BA3-1460-475D-A99C-FAC7CBB3F453}"/>
                </a:ext>
              </a:extLst>
            </p:cNvPr>
            <p:cNvPicPr>
              <a:picLocks noChangeAspect="1"/>
            </p:cNvPicPr>
            <p:nvPr/>
          </p:nvPicPr>
          <p:blipFill>
            <a:blip r:embed="rId5"/>
            <a:stretch>
              <a:fillRect/>
            </a:stretch>
          </p:blipFill>
          <p:spPr>
            <a:xfrm>
              <a:off x="8093381" y="1970508"/>
              <a:ext cx="3382584" cy="3390894"/>
            </a:xfrm>
            <a:prstGeom prst="rect">
              <a:avLst/>
            </a:prstGeom>
          </p:spPr>
        </p:pic>
      </p:grpSp>
    </p:spTree>
    <p:extLst>
      <p:ext uri="{BB962C8B-B14F-4D97-AF65-F5344CB8AC3E}">
        <p14:creationId xmlns:p14="http://schemas.microsoft.com/office/powerpoint/2010/main" val="101360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EBD091-7DA9-441A-8140-F931DDB08453}"/>
              </a:ext>
            </a:extLst>
          </p:cNvPr>
          <p:cNvSpPr>
            <a:spLocks noGrp="1"/>
          </p:cNvSpPr>
          <p:nvPr>
            <p:ph type="title"/>
          </p:nvPr>
        </p:nvSpPr>
        <p:spPr/>
        <p:txBody>
          <a:bodyPr/>
          <a:lstStyle/>
          <a:p>
            <a:r>
              <a:rPr lang="nl-NL" dirty="0"/>
              <a:t>GDPR en Microsoft</a:t>
            </a:r>
          </a:p>
        </p:txBody>
      </p:sp>
      <p:sp>
        <p:nvSpPr>
          <p:cNvPr id="3" name="Tijdelijke aanduiding voor inhoud 2">
            <a:extLst>
              <a:ext uri="{FF2B5EF4-FFF2-40B4-BE49-F238E27FC236}">
                <a16:creationId xmlns:a16="http://schemas.microsoft.com/office/drawing/2014/main" id="{E98CA8D7-343F-41F8-A960-6FA619D56BF2}"/>
              </a:ext>
            </a:extLst>
          </p:cNvPr>
          <p:cNvSpPr>
            <a:spLocks noGrp="1"/>
          </p:cNvSpPr>
          <p:nvPr>
            <p:ph idx="1"/>
          </p:nvPr>
        </p:nvSpPr>
        <p:spPr/>
        <p:txBody>
          <a:bodyPr/>
          <a:lstStyle/>
          <a:p>
            <a:endParaRPr lang="nl-NL"/>
          </a:p>
        </p:txBody>
      </p:sp>
      <p:pic>
        <p:nvPicPr>
          <p:cNvPr id="7" name="Afbeelding 6">
            <a:extLst>
              <a:ext uri="{FF2B5EF4-FFF2-40B4-BE49-F238E27FC236}">
                <a16:creationId xmlns:a16="http://schemas.microsoft.com/office/drawing/2014/main" id="{61CB842A-A590-4C89-96F0-D5F26D9C46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1899" y="1509486"/>
            <a:ext cx="9488571" cy="5814420"/>
          </a:xfrm>
          <a:prstGeom prst="rect">
            <a:avLst/>
          </a:prstGeom>
        </p:spPr>
      </p:pic>
    </p:spTree>
    <p:extLst>
      <p:ext uri="{BB962C8B-B14F-4D97-AF65-F5344CB8AC3E}">
        <p14:creationId xmlns:p14="http://schemas.microsoft.com/office/powerpoint/2010/main" val="300804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p:cNvSpPr txBox="1"/>
          <p:nvPr/>
        </p:nvSpPr>
        <p:spPr>
          <a:xfrm>
            <a:off x="1281705" y="3283486"/>
            <a:ext cx="1971342"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PCs, tablets, mobile</a:t>
            </a:r>
          </a:p>
        </p:txBody>
      </p:sp>
      <p:sp>
        <p:nvSpPr>
          <p:cNvPr id="110" name="Rectangle 109"/>
          <p:cNvSpPr/>
          <p:nvPr/>
        </p:nvSpPr>
        <p:spPr bwMode="auto">
          <a:xfrm>
            <a:off x="4275933" y="4394411"/>
            <a:ext cx="3636959" cy="448032"/>
          </a:xfrm>
          <a:prstGeom prst="rect">
            <a:avLst/>
          </a:prstGeom>
          <a:solidFill>
            <a:srgbClr val="D83B01"/>
          </a:solid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pPr>
            <a:r>
              <a:rPr lang="en-US" sz="1371" kern="0" dirty="0">
                <a:solidFill>
                  <a:srgbClr val="FFFFFF"/>
                </a:solidFill>
                <a:latin typeface="Segoe UI"/>
                <a:ea typeface="Segoe UI" pitchFamily="34" charset="0"/>
                <a:cs typeface="Segoe UI" pitchFamily="34" charset="0"/>
              </a:rPr>
              <a:t>Office 365 DLP</a:t>
            </a:r>
          </a:p>
        </p:txBody>
      </p:sp>
      <p:sp>
        <p:nvSpPr>
          <p:cNvPr id="111" name="Rectangle 110"/>
          <p:cNvSpPr/>
          <p:nvPr/>
        </p:nvSpPr>
        <p:spPr bwMode="auto">
          <a:xfrm>
            <a:off x="436051" y="4394410"/>
            <a:ext cx="3649805" cy="984556"/>
          </a:xfrm>
          <a:prstGeom prst="rect">
            <a:avLst/>
          </a:prstGeom>
          <a:solidFill>
            <a:schemeClr val="tx1">
              <a:lumMod val="75000"/>
              <a:lumOff val="2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ts val="588"/>
              </a:spcBef>
              <a:spcAft>
                <a:spcPct val="0"/>
              </a:spcAft>
              <a:defRPr/>
            </a:pPr>
            <a:r>
              <a:rPr lang="en-US" sz="1371" kern="0" dirty="0">
                <a:solidFill>
                  <a:schemeClr val="bg1"/>
                </a:solidFill>
                <a:latin typeface="Segoe UI"/>
                <a:ea typeface="Segoe UI" pitchFamily="34" charset="0"/>
                <a:cs typeface="Segoe UI" pitchFamily="34" charset="0"/>
              </a:rPr>
              <a:t>Windows Information Protection </a:t>
            </a:r>
            <a:br>
              <a:rPr lang="en-US" sz="1371" kern="0" dirty="0">
                <a:solidFill>
                  <a:schemeClr val="bg1"/>
                </a:solidFill>
                <a:latin typeface="Segoe UI"/>
                <a:ea typeface="Segoe UI" pitchFamily="34" charset="0"/>
                <a:cs typeface="Segoe UI" pitchFamily="34" charset="0"/>
              </a:rPr>
            </a:br>
            <a:r>
              <a:rPr lang="en-US" sz="1371" kern="0" dirty="0">
                <a:solidFill>
                  <a:schemeClr val="bg1"/>
                </a:solidFill>
                <a:latin typeface="Segoe UI"/>
                <a:ea typeface="Segoe UI" pitchFamily="34" charset="0"/>
                <a:cs typeface="Segoe UI" pitchFamily="34" charset="0"/>
              </a:rPr>
              <a:t>&amp; BitLocker for Windows 10</a:t>
            </a:r>
          </a:p>
        </p:txBody>
      </p:sp>
      <p:sp>
        <p:nvSpPr>
          <p:cNvPr id="112" name="Rectangle 111"/>
          <p:cNvSpPr/>
          <p:nvPr/>
        </p:nvSpPr>
        <p:spPr bwMode="auto">
          <a:xfrm>
            <a:off x="6094414" y="5467459"/>
            <a:ext cx="5645515" cy="448032"/>
          </a:xfrm>
          <a:prstGeom prst="rect">
            <a:avLst/>
          </a:prstGeom>
          <a:solidFill>
            <a:srgbClr val="DC3C00"/>
          </a:solid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pPr>
            <a:r>
              <a:rPr lang="en-US" sz="1371" kern="0" dirty="0">
                <a:solidFill>
                  <a:schemeClr val="bg1"/>
                </a:solidFill>
                <a:latin typeface="Segoe UI"/>
                <a:ea typeface="Segoe UI" pitchFamily="34" charset="0"/>
                <a:cs typeface="Segoe UI" pitchFamily="34" charset="0"/>
              </a:rPr>
              <a:t>Azure Information Protection</a:t>
            </a:r>
          </a:p>
        </p:txBody>
      </p:sp>
      <p:sp>
        <p:nvSpPr>
          <p:cNvPr id="78" name="TextBox 77"/>
          <p:cNvSpPr txBox="1"/>
          <p:nvPr/>
        </p:nvSpPr>
        <p:spPr>
          <a:xfrm>
            <a:off x="4519367" y="3283486"/>
            <a:ext cx="1792128"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Exchange Online, SharePoint Online &amp; OneDrive for Business</a:t>
            </a:r>
          </a:p>
        </p:txBody>
      </p:sp>
      <p:sp>
        <p:nvSpPr>
          <p:cNvPr id="121" name="TextBox 120"/>
          <p:cNvSpPr txBox="1"/>
          <p:nvPr/>
        </p:nvSpPr>
        <p:spPr>
          <a:xfrm>
            <a:off x="6556689" y="3283486"/>
            <a:ext cx="1112771"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Highly regulated</a:t>
            </a:r>
          </a:p>
        </p:txBody>
      </p:sp>
      <p:sp>
        <p:nvSpPr>
          <p:cNvPr id="132" name="Rectangle 131"/>
          <p:cNvSpPr/>
          <p:nvPr/>
        </p:nvSpPr>
        <p:spPr bwMode="auto">
          <a:xfrm>
            <a:off x="436051" y="5467459"/>
            <a:ext cx="3649805" cy="448032"/>
          </a:xfrm>
          <a:prstGeom prst="rect">
            <a:avLst/>
          </a:prstGeom>
          <a:solidFill>
            <a:schemeClr val="tx1">
              <a:lumMod val="75000"/>
              <a:lumOff val="2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defRPr/>
            </a:pPr>
            <a:r>
              <a:rPr lang="en-US" sz="1371" kern="0" dirty="0">
                <a:solidFill>
                  <a:schemeClr val="bg1"/>
                </a:solidFill>
                <a:latin typeface="Segoe UI"/>
                <a:ea typeface="Segoe UI" pitchFamily="34" charset="0"/>
                <a:cs typeface="Segoe UI" pitchFamily="34" charset="0"/>
              </a:rPr>
              <a:t>Intune MDM &amp; MAM for </a:t>
            </a:r>
            <a:br>
              <a:rPr lang="en-US" sz="1371" kern="0" dirty="0">
                <a:solidFill>
                  <a:schemeClr val="bg1"/>
                </a:solidFill>
                <a:latin typeface="Segoe UI"/>
                <a:ea typeface="Segoe UI" pitchFamily="34" charset="0"/>
                <a:cs typeface="Segoe UI" pitchFamily="34" charset="0"/>
              </a:rPr>
            </a:br>
            <a:r>
              <a:rPr lang="en-US" sz="1371" kern="0" dirty="0">
                <a:solidFill>
                  <a:schemeClr val="bg1"/>
                </a:solidFill>
                <a:latin typeface="Segoe UI"/>
                <a:ea typeface="Segoe UI" pitchFamily="34" charset="0"/>
                <a:cs typeface="Segoe UI" pitchFamily="34" charset="0"/>
              </a:rPr>
              <a:t>iOS &amp; Android</a:t>
            </a:r>
          </a:p>
        </p:txBody>
      </p:sp>
      <p:sp>
        <p:nvSpPr>
          <p:cNvPr id="145" name="Rectangle 144">
            <a:extLst>
              <a:ext uri="{FF2B5EF4-FFF2-40B4-BE49-F238E27FC236}">
                <a16:creationId xmlns:a16="http://schemas.microsoft.com/office/drawing/2014/main" id="{F6B53DF1-CD32-42A8-9EA6-B1128EB6E9DD}"/>
              </a:ext>
            </a:extLst>
          </p:cNvPr>
          <p:cNvSpPr/>
          <p:nvPr/>
        </p:nvSpPr>
        <p:spPr bwMode="auto">
          <a:xfrm>
            <a:off x="6094415" y="6003981"/>
            <a:ext cx="4059175" cy="448032"/>
          </a:xfrm>
          <a:prstGeom prst="rect">
            <a:avLst/>
          </a:prstGeom>
          <a:solidFill>
            <a:schemeClr val="tx1">
              <a:lumMod val="75000"/>
              <a:lumOff val="2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defRPr/>
            </a:pPr>
            <a:r>
              <a:rPr lang="en-US" sz="1371" kern="0" dirty="0">
                <a:solidFill>
                  <a:schemeClr val="bg1"/>
                </a:solidFill>
                <a:latin typeface="Segoe UI"/>
                <a:ea typeface="Segoe UI" pitchFamily="34" charset="0"/>
                <a:cs typeface="Segoe UI" pitchFamily="34" charset="0"/>
              </a:rPr>
              <a:t>Microsoft Cloud App Security</a:t>
            </a:r>
          </a:p>
        </p:txBody>
      </p:sp>
      <p:sp>
        <p:nvSpPr>
          <p:cNvPr id="146" name="Rectangle 145">
            <a:extLst>
              <a:ext uri="{FF2B5EF4-FFF2-40B4-BE49-F238E27FC236}">
                <a16:creationId xmlns:a16="http://schemas.microsoft.com/office/drawing/2014/main" id="{26ACA5CA-70CA-4DB2-85A7-74A65AD2D839}"/>
              </a:ext>
            </a:extLst>
          </p:cNvPr>
          <p:cNvSpPr/>
          <p:nvPr/>
        </p:nvSpPr>
        <p:spPr bwMode="auto">
          <a:xfrm>
            <a:off x="4275933" y="4930935"/>
            <a:ext cx="3636959" cy="448032"/>
          </a:xfrm>
          <a:prstGeom prst="rect">
            <a:avLst/>
          </a:prstGeom>
          <a:solidFill>
            <a:srgbClr val="D83B01"/>
          </a:solid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pPr>
            <a:br>
              <a:rPr lang="en-US" sz="1371" kern="0" dirty="0">
                <a:solidFill>
                  <a:srgbClr val="FFFFFF"/>
                </a:solidFill>
                <a:latin typeface="Segoe UI"/>
                <a:ea typeface="Segoe UI" pitchFamily="34" charset="0"/>
                <a:cs typeface="Segoe UI" pitchFamily="34" charset="0"/>
              </a:rPr>
            </a:br>
            <a:r>
              <a:rPr lang="en-US" sz="1371" kern="0" dirty="0">
                <a:solidFill>
                  <a:srgbClr val="FFFFFF"/>
                </a:solidFill>
                <a:latin typeface="Segoe UI"/>
                <a:ea typeface="Segoe UI" pitchFamily="34" charset="0"/>
                <a:cs typeface="Segoe UI" pitchFamily="34" charset="0"/>
              </a:rPr>
              <a:t>Office 365 Advanced Data Governance</a:t>
            </a:r>
          </a:p>
          <a:p>
            <a:pPr algn="ctr" defTabSz="932042" fontAlgn="base">
              <a:lnSpc>
                <a:spcPct val="90000"/>
              </a:lnSpc>
              <a:spcBef>
                <a:spcPct val="0"/>
              </a:spcBef>
              <a:spcAft>
                <a:spcPct val="0"/>
              </a:spcAft>
            </a:pPr>
            <a:endParaRPr lang="en-US" sz="1371" kern="0" dirty="0">
              <a:solidFill>
                <a:srgbClr val="FFFFFF"/>
              </a:solidFill>
              <a:latin typeface="Segoe UI"/>
              <a:ea typeface="Segoe UI" pitchFamily="34" charset="0"/>
              <a:cs typeface="Segoe UI" pitchFamily="34" charset="0"/>
            </a:endParaRPr>
          </a:p>
        </p:txBody>
      </p:sp>
      <p:sp>
        <p:nvSpPr>
          <p:cNvPr id="108" name="TextBox 107"/>
          <p:cNvSpPr txBox="1"/>
          <p:nvPr/>
        </p:nvSpPr>
        <p:spPr>
          <a:xfrm>
            <a:off x="10451037" y="3283486"/>
            <a:ext cx="1224047"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Datacenters, file shares</a:t>
            </a:r>
          </a:p>
        </p:txBody>
      </p:sp>
      <p:sp>
        <p:nvSpPr>
          <p:cNvPr id="109" name="TextBox 108"/>
          <p:cNvSpPr txBox="1"/>
          <p:nvPr/>
        </p:nvSpPr>
        <p:spPr>
          <a:xfrm>
            <a:off x="8038486" y="3283486"/>
            <a:ext cx="1224047"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Azure</a:t>
            </a:r>
          </a:p>
        </p:txBody>
      </p:sp>
      <p:sp>
        <p:nvSpPr>
          <p:cNvPr id="67" name="TextBox 66">
            <a:extLst>
              <a:ext uri="{FF2B5EF4-FFF2-40B4-BE49-F238E27FC236}">
                <a16:creationId xmlns:a16="http://schemas.microsoft.com/office/drawing/2014/main" id="{5A669B1E-690F-424A-94A7-8F85C089E831}"/>
              </a:ext>
            </a:extLst>
          </p:cNvPr>
          <p:cNvSpPr txBox="1"/>
          <p:nvPr/>
        </p:nvSpPr>
        <p:spPr>
          <a:xfrm>
            <a:off x="9244760" y="3283486"/>
            <a:ext cx="1224047" cy="448032"/>
          </a:xfrm>
          <a:prstGeom prst="rect">
            <a:avLst/>
          </a:prstGeom>
          <a:noFill/>
        </p:spPr>
        <p:txBody>
          <a:bodyPr wrap="square" lIns="0" tIns="0" rIns="0" bIns="0" rtlCol="0">
            <a:noAutofit/>
          </a:bodyPr>
          <a:lstStyle/>
          <a:p>
            <a:pPr algn="ctr" defTabSz="913979">
              <a:lnSpc>
                <a:spcPct val="90000"/>
              </a:lnSpc>
              <a:defRPr/>
            </a:pPr>
            <a:r>
              <a:rPr lang="en-US" sz="1078" kern="0" dirty="0">
                <a:solidFill>
                  <a:srgbClr val="505050"/>
                </a:solidFill>
                <a:latin typeface="Segoe UI Semibold" panose="020B0702040204020203" pitchFamily="34" charset="0"/>
                <a:cs typeface="Segoe UI Semibold" panose="020B0702040204020203" pitchFamily="34" charset="0"/>
              </a:rPr>
              <a:t>3</a:t>
            </a:r>
            <a:r>
              <a:rPr lang="en-US" sz="1078" kern="0" baseline="30000" dirty="0">
                <a:solidFill>
                  <a:srgbClr val="505050"/>
                </a:solidFill>
                <a:latin typeface="Segoe UI Semibold" panose="020B0702040204020203" pitchFamily="34" charset="0"/>
                <a:cs typeface="Segoe UI Semibold" panose="020B0702040204020203" pitchFamily="34" charset="0"/>
              </a:rPr>
              <a:t>rd</a:t>
            </a:r>
            <a:r>
              <a:rPr lang="en-US" sz="1078" kern="0" dirty="0">
                <a:solidFill>
                  <a:srgbClr val="505050"/>
                </a:solidFill>
                <a:latin typeface="Segoe UI Semibold" panose="020B0702040204020203" pitchFamily="34" charset="0"/>
                <a:cs typeface="Segoe UI Semibold" panose="020B0702040204020203" pitchFamily="34" charset="0"/>
              </a:rPr>
              <a:t>-Party SaaS</a:t>
            </a:r>
          </a:p>
        </p:txBody>
      </p:sp>
      <p:sp>
        <p:nvSpPr>
          <p:cNvPr id="77" name="Title 1">
            <a:extLst>
              <a:ext uri="{FF2B5EF4-FFF2-40B4-BE49-F238E27FC236}">
                <a16:creationId xmlns:a16="http://schemas.microsoft.com/office/drawing/2014/main" id="{455360DA-34A4-46D6-985A-A780072C590B}"/>
              </a:ext>
            </a:extLst>
          </p:cNvPr>
          <p:cNvSpPr txBox="1">
            <a:spLocks/>
          </p:cNvSpPr>
          <p:nvPr/>
        </p:nvSpPr>
        <p:spPr>
          <a:xfrm>
            <a:off x="448897" y="335578"/>
            <a:ext cx="11291031" cy="550733"/>
          </a:xfrm>
          <a:prstGeom prst="rect">
            <a:avLst/>
          </a:prstGeom>
          <a:noFill/>
          <a:ln>
            <a:noFill/>
          </a:ln>
        </p:spPr>
        <p:txBody>
          <a:bodyPr vert="horz" wrap="square" lIns="0" tIns="89606" rIns="0" bIns="89606"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121">
              <a:defRPr/>
            </a:pPr>
            <a:endParaRPr lang="en-US" sz="2744" b="1" spc="118" dirty="0">
              <a:solidFill>
                <a:srgbClr val="505050"/>
              </a:solidFill>
            </a:endParaRPr>
          </a:p>
        </p:txBody>
      </p:sp>
      <p:sp>
        <p:nvSpPr>
          <p:cNvPr id="93" name="TextBox 92">
            <a:extLst>
              <a:ext uri="{FF2B5EF4-FFF2-40B4-BE49-F238E27FC236}">
                <a16:creationId xmlns:a16="http://schemas.microsoft.com/office/drawing/2014/main" id="{7C397A85-C74C-406A-8FBF-C3EB76DEABFD}"/>
              </a:ext>
            </a:extLst>
          </p:cNvPr>
          <p:cNvSpPr txBox="1"/>
          <p:nvPr/>
        </p:nvSpPr>
        <p:spPr>
          <a:xfrm>
            <a:off x="4578608" y="1509672"/>
            <a:ext cx="3031609" cy="534497"/>
          </a:xfrm>
          <a:prstGeom prst="rect">
            <a:avLst/>
          </a:prstGeom>
          <a:solidFill>
            <a:schemeClr val="bg1"/>
          </a:solidFill>
        </p:spPr>
        <p:txBody>
          <a:bodyPr wrap="square" lIns="0" tIns="146225" rIns="0" bIns="146225" rtlCol="0" anchor="t">
            <a:noAutofit/>
          </a:bodyPr>
          <a:lstStyle/>
          <a:p>
            <a:pPr algn="ctr" defTabSz="914121">
              <a:lnSpc>
                <a:spcPct val="90000"/>
              </a:lnSpc>
              <a:spcAft>
                <a:spcPts val="588"/>
              </a:spcAft>
              <a:defRPr/>
            </a:pPr>
            <a:r>
              <a:rPr lang="en-US" sz="1567" cap="all" spc="295" dirty="0">
                <a:solidFill>
                  <a:srgbClr val="505050"/>
                </a:solidFill>
                <a:latin typeface="Segoe UI Semibold" panose="020B0702040204020203" pitchFamily="34" charset="0"/>
                <a:cs typeface="Segoe UI Semibold" panose="020B0702040204020203" pitchFamily="34" charset="0"/>
              </a:rPr>
              <a:t>OFFICE 365</a:t>
            </a:r>
          </a:p>
        </p:txBody>
      </p:sp>
      <p:sp>
        <p:nvSpPr>
          <p:cNvPr id="101" name="TextBox 100">
            <a:extLst>
              <a:ext uri="{FF2B5EF4-FFF2-40B4-BE49-F238E27FC236}">
                <a16:creationId xmlns:a16="http://schemas.microsoft.com/office/drawing/2014/main" id="{BB88077B-6D64-4A74-B6FE-E31B02D7195A}"/>
              </a:ext>
            </a:extLst>
          </p:cNvPr>
          <p:cNvSpPr txBox="1"/>
          <p:nvPr/>
        </p:nvSpPr>
        <p:spPr>
          <a:xfrm>
            <a:off x="751571" y="1509672"/>
            <a:ext cx="3031609" cy="534497"/>
          </a:xfrm>
          <a:prstGeom prst="rect">
            <a:avLst/>
          </a:prstGeom>
          <a:solidFill>
            <a:schemeClr val="bg1"/>
          </a:solidFill>
        </p:spPr>
        <p:txBody>
          <a:bodyPr wrap="square" lIns="0" tIns="146225" rIns="0" bIns="146225" rtlCol="0" anchor="t">
            <a:noAutofit/>
          </a:bodyPr>
          <a:lstStyle/>
          <a:p>
            <a:pPr algn="ctr" defTabSz="914121">
              <a:lnSpc>
                <a:spcPct val="90000"/>
              </a:lnSpc>
              <a:spcAft>
                <a:spcPts val="588"/>
              </a:spcAft>
              <a:defRPr/>
            </a:pPr>
            <a:r>
              <a:rPr lang="en-US" sz="1567" cap="all" spc="295" dirty="0">
                <a:solidFill>
                  <a:srgbClr val="505050"/>
                </a:solidFill>
                <a:latin typeface="Segoe UI Semibold" panose="020B0702040204020203" pitchFamily="34" charset="0"/>
                <a:cs typeface="Segoe UI Semibold" panose="020B0702040204020203" pitchFamily="34" charset="0"/>
              </a:rPr>
              <a:t>Devices</a:t>
            </a:r>
          </a:p>
        </p:txBody>
      </p:sp>
      <p:sp>
        <p:nvSpPr>
          <p:cNvPr id="150" name="TextBox 149">
            <a:extLst>
              <a:ext uri="{FF2B5EF4-FFF2-40B4-BE49-F238E27FC236}">
                <a16:creationId xmlns:a16="http://schemas.microsoft.com/office/drawing/2014/main" id="{FC95D1E6-656B-4848-BC58-B5F968679660}"/>
              </a:ext>
            </a:extLst>
          </p:cNvPr>
          <p:cNvSpPr txBox="1"/>
          <p:nvPr/>
        </p:nvSpPr>
        <p:spPr>
          <a:xfrm>
            <a:off x="8405645" y="1509672"/>
            <a:ext cx="3031609" cy="534497"/>
          </a:xfrm>
          <a:prstGeom prst="rect">
            <a:avLst/>
          </a:prstGeom>
          <a:solidFill>
            <a:schemeClr val="bg1"/>
          </a:solidFill>
        </p:spPr>
        <p:txBody>
          <a:bodyPr wrap="square" lIns="0" tIns="146225" rIns="0" bIns="146225" rtlCol="0" anchor="t">
            <a:noAutofit/>
          </a:bodyPr>
          <a:lstStyle/>
          <a:p>
            <a:pPr algn="ctr" defTabSz="914121">
              <a:lnSpc>
                <a:spcPct val="90000"/>
              </a:lnSpc>
              <a:spcAft>
                <a:spcPts val="588"/>
              </a:spcAft>
              <a:defRPr/>
            </a:pPr>
            <a:r>
              <a:rPr lang="fr-FR" sz="1567" cap="all" spc="295" dirty="0">
                <a:solidFill>
                  <a:srgbClr val="505050"/>
                </a:solidFill>
                <a:latin typeface="Segoe UI Semibold" panose="020B0702040204020203" pitchFamily="34" charset="0"/>
                <a:cs typeface="Segoe UI Semibold" panose="020B0702040204020203" pitchFamily="34" charset="0"/>
              </a:rPr>
              <a:t>CLOUD SERVICES, SaaS </a:t>
            </a:r>
            <a:r>
              <a:rPr lang="fr-FR" sz="1567" cap="all" spc="295" dirty="0" err="1">
                <a:solidFill>
                  <a:srgbClr val="505050"/>
                </a:solidFill>
                <a:latin typeface="Segoe UI Semibold" panose="020B0702040204020203" pitchFamily="34" charset="0"/>
                <a:cs typeface="Segoe UI Semibold" panose="020B0702040204020203" pitchFamily="34" charset="0"/>
              </a:rPr>
              <a:t>APPs</a:t>
            </a:r>
            <a:r>
              <a:rPr lang="fr-FR" sz="1567" cap="all" spc="295" dirty="0">
                <a:solidFill>
                  <a:srgbClr val="505050"/>
                </a:solidFill>
                <a:latin typeface="Segoe UI Semibold" panose="020B0702040204020203" pitchFamily="34" charset="0"/>
                <a:cs typeface="Segoe UI Semibold" panose="020B0702040204020203" pitchFamily="34" charset="0"/>
              </a:rPr>
              <a:t> &amp; ON-PREMISES</a:t>
            </a:r>
          </a:p>
        </p:txBody>
      </p:sp>
      <p:sp>
        <p:nvSpPr>
          <p:cNvPr id="2" name="Rectangle 1">
            <a:extLst>
              <a:ext uri="{FF2B5EF4-FFF2-40B4-BE49-F238E27FC236}">
                <a16:creationId xmlns:a16="http://schemas.microsoft.com/office/drawing/2014/main" id="{17DB9CD2-F76F-44D8-94BD-0ECF8BC6A6B2}"/>
              </a:ext>
            </a:extLst>
          </p:cNvPr>
          <p:cNvSpPr/>
          <p:nvPr/>
        </p:nvSpPr>
        <p:spPr bwMode="auto">
          <a:xfrm>
            <a:off x="4275933" y="1509673"/>
            <a:ext cx="3636959" cy="2300327"/>
          </a:xfrm>
          <a:prstGeom prst="rect">
            <a:avLst/>
          </a:prstGeom>
          <a:noFill/>
          <a:ln w="34925">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085EF276-7BBC-4BEF-8416-D7AC7C9D409A}"/>
              </a:ext>
            </a:extLst>
          </p:cNvPr>
          <p:cNvSpPr/>
          <p:nvPr/>
        </p:nvSpPr>
        <p:spPr bwMode="auto">
          <a:xfrm>
            <a:off x="448896" y="1509673"/>
            <a:ext cx="3636959" cy="2300327"/>
          </a:xfrm>
          <a:prstGeom prst="rect">
            <a:avLst/>
          </a:prstGeom>
          <a:noFill/>
          <a:ln w="34925">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1E92AAE9-14B7-4290-9C7D-3B165ED6DFFF}"/>
              </a:ext>
            </a:extLst>
          </p:cNvPr>
          <p:cNvSpPr/>
          <p:nvPr/>
        </p:nvSpPr>
        <p:spPr bwMode="auto">
          <a:xfrm>
            <a:off x="8102970" y="1509673"/>
            <a:ext cx="3636959" cy="2300327"/>
          </a:xfrm>
          <a:prstGeom prst="rect">
            <a:avLst/>
          </a:prstGeom>
          <a:noFill/>
          <a:ln w="34925">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5" name="Group 234">
            <a:extLst>
              <a:ext uri="{FF2B5EF4-FFF2-40B4-BE49-F238E27FC236}">
                <a16:creationId xmlns:a16="http://schemas.microsoft.com/office/drawing/2014/main" id="{5F6F97D9-5451-4E0C-8D96-A16AB466FC13}"/>
              </a:ext>
            </a:extLst>
          </p:cNvPr>
          <p:cNvGrpSpPr/>
          <p:nvPr/>
        </p:nvGrpSpPr>
        <p:grpSpPr>
          <a:xfrm>
            <a:off x="1762365" y="2400552"/>
            <a:ext cx="1010023" cy="433481"/>
            <a:chOff x="1886664" y="2738534"/>
            <a:chExt cx="1323379" cy="567965"/>
          </a:xfrm>
        </p:grpSpPr>
        <p:grpSp>
          <p:nvGrpSpPr>
            <p:cNvPr id="157" name="Group 156">
              <a:extLst>
                <a:ext uri="{FF2B5EF4-FFF2-40B4-BE49-F238E27FC236}">
                  <a16:creationId xmlns:a16="http://schemas.microsoft.com/office/drawing/2014/main" id="{E2467EC7-41FD-4567-9E02-E3C727A95583}"/>
                </a:ext>
              </a:extLst>
            </p:cNvPr>
            <p:cNvGrpSpPr/>
            <p:nvPr/>
          </p:nvGrpSpPr>
          <p:grpSpPr>
            <a:xfrm>
              <a:off x="2808284" y="2738534"/>
              <a:ext cx="401759" cy="534498"/>
              <a:chOff x="7574899" y="4412501"/>
              <a:chExt cx="182410" cy="242678"/>
            </a:xfrm>
            <a:solidFill>
              <a:schemeClr val="tx2"/>
            </a:solidFill>
          </p:grpSpPr>
          <p:sp>
            <p:nvSpPr>
              <p:cNvPr id="158" name="Freeform 2080">
                <a:extLst>
                  <a:ext uri="{FF2B5EF4-FFF2-40B4-BE49-F238E27FC236}">
                    <a16:creationId xmlns:a16="http://schemas.microsoft.com/office/drawing/2014/main" id="{145F60A2-5862-4978-A83F-37C46EB37B50}"/>
                  </a:ext>
                </a:extLst>
              </p:cNvPr>
              <p:cNvSpPr>
                <a:spLocks noEditPoints="1"/>
              </p:cNvSpPr>
              <p:nvPr/>
            </p:nvSpPr>
            <p:spPr bwMode="auto">
              <a:xfrm>
                <a:off x="7574899" y="4412501"/>
                <a:ext cx="182410" cy="24267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59" name="Freeform 2081">
                <a:extLst>
                  <a:ext uri="{FF2B5EF4-FFF2-40B4-BE49-F238E27FC236}">
                    <a16:creationId xmlns:a16="http://schemas.microsoft.com/office/drawing/2014/main" id="{D66ACB0C-935F-4E6E-9F52-FD57E10CA755}"/>
                  </a:ext>
                </a:extLst>
              </p:cNvPr>
              <p:cNvSpPr>
                <a:spLocks/>
              </p:cNvSpPr>
              <p:nvPr/>
            </p:nvSpPr>
            <p:spPr bwMode="auto">
              <a:xfrm>
                <a:off x="7666506" y="4419733"/>
                <a:ext cx="83571" cy="83571"/>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7" name="Group 6">
              <a:extLst>
                <a:ext uri="{FF2B5EF4-FFF2-40B4-BE49-F238E27FC236}">
                  <a16:creationId xmlns:a16="http://schemas.microsoft.com/office/drawing/2014/main" id="{F5C2A4BE-D690-4FDC-8653-4C4D4B36BBDC}"/>
                </a:ext>
              </a:extLst>
            </p:cNvPr>
            <p:cNvGrpSpPr/>
            <p:nvPr/>
          </p:nvGrpSpPr>
          <p:grpSpPr>
            <a:xfrm>
              <a:off x="1886664" y="2743450"/>
              <a:ext cx="852451" cy="563049"/>
              <a:chOff x="1886664" y="2743450"/>
              <a:chExt cx="852451" cy="563049"/>
            </a:xfrm>
          </p:grpSpPr>
          <p:sp>
            <p:nvSpPr>
              <p:cNvPr id="6" name="Rectangle 5">
                <a:extLst>
                  <a:ext uri="{FF2B5EF4-FFF2-40B4-BE49-F238E27FC236}">
                    <a16:creationId xmlns:a16="http://schemas.microsoft.com/office/drawing/2014/main" id="{85978221-B34F-4D80-ABE0-53813BF06EC2}"/>
                  </a:ext>
                </a:extLst>
              </p:cNvPr>
              <p:cNvSpPr/>
              <p:nvPr/>
            </p:nvSpPr>
            <p:spPr bwMode="auto">
              <a:xfrm>
                <a:off x="2330607" y="2969301"/>
                <a:ext cx="376025" cy="26794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A6271DF9-C804-4F5D-9899-FFA8F98E08BA}"/>
                  </a:ext>
                </a:extLst>
              </p:cNvPr>
              <p:cNvGrpSpPr/>
              <p:nvPr/>
            </p:nvGrpSpPr>
            <p:grpSpPr>
              <a:xfrm>
                <a:off x="1886664" y="2743450"/>
                <a:ext cx="852451" cy="563049"/>
                <a:chOff x="9627677" y="1273017"/>
                <a:chExt cx="390357" cy="257833"/>
              </a:xfrm>
              <a:solidFill>
                <a:schemeClr val="accent1"/>
              </a:solidFill>
            </p:grpSpPr>
            <p:sp>
              <p:nvSpPr>
                <p:cNvPr id="134" name="Rectangle 1760">
                  <a:extLst>
                    <a:ext uri="{FF2B5EF4-FFF2-40B4-BE49-F238E27FC236}">
                      <a16:creationId xmlns:a16="http://schemas.microsoft.com/office/drawing/2014/main" id="{F3FB759D-94E6-49FC-87FA-F8687E344125}"/>
                    </a:ext>
                  </a:extLst>
                </p:cNvPr>
                <p:cNvSpPr>
                  <a:spLocks noChangeArrowheads="1"/>
                </p:cNvSpPr>
                <p:nvPr/>
              </p:nvSpPr>
              <p:spPr bwMode="auto">
                <a:xfrm>
                  <a:off x="9772821" y="1438896"/>
                  <a:ext cx="17129" cy="34258"/>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35" name="Rectangle 1761">
                  <a:extLst>
                    <a:ext uri="{FF2B5EF4-FFF2-40B4-BE49-F238E27FC236}">
                      <a16:creationId xmlns:a16="http://schemas.microsoft.com/office/drawing/2014/main" id="{5C300D18-CE7B-4DDE-BD0E-E379A9EF8249}"/>
                    </a:ext>
                  </a:extLst>
                </p:cNvPr>
                <p:cNvSpPr>
                  <a:spLocks noChangeArrowheads="1"/>
                </p:cNvSpPr>
                <p:nvPr/>
              </p:nvSpPr>
              <p:spPr bwMode="auto">
                <a:xfrm>
                  <a:off x="9738564" y="1460532"/>
                  <a:ext cx="84742" cy="17129"/>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38" name="Freeform 1762">
                  <a:extLst>
                    <a:ext uri="{FF2B5EF4-FFF2-40B4-BE49-F238E27FC236}">
                      <a16:creationId xmlns:a16="http://schemas.microsoft.com/office/drawing/2014/main" id="{92D40CFF-91DD-4A29-9446-94C92F69B5EC}"/>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40" name="Rectangle 1763">
                  <a:extLst>
                    <a:ext uri="{FF2B5EF4-FFF2-40B4-BE49-F238E27FC236}">
                      <a16:creationId xmlns:a16="http://schemas.microsoft.com/office/drawing/2014/main" id="{C558594F-829C-40AA-85DF-DF47C69059E2}"/>
                    </a:ext>
                  </a:extLst>
                </p:cNvPr>
                <p:cNvSpPr>
                  <a:spLocks noChangeArrowheads="1"/>
                </p:cNvSpPr>
                <p:nvPr/>
              </p:nvSpPr>
              <p:spPr bwMode="auto">
                <a:xfrm>
                  <a:off x="9706109" y="1426275"/>
                  <a:ext cx="113591" cy="17129"/>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41" name="Freeform 1764">
                  <a:extLst>
                    <a:ext uri="{FF2B5EF4-FFF2-40B4-BE49-F238E27FC236}">
                      <a16:creationId xmlns:a16="http://schemas.microsoft.com/office/drawing/2014/main" id="{43A7DCF4-C1A6-4805-A127-D00450C127F2}"/>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44" name="Rectangle 1765">
                  <a:extLst>
                    <a:ext uri="{FF2B5EF4-FFF2-40B4-BE49-F238E27FC236}">
                      <a16:creationId xmlns:a16="http://schemas.microsoft.com/office/drawing/2014/main" id="{44EC75AB-ADA1-4B32-B06A-844B939D35CA}"/>
                    </a:ext>
                  </a:extLst>
                </p:cNvPr>
                <p:cNvSpPr>
                  <a:spLocks noChangeArrowheads="1"/>
                </p:cNvSpPr>
                <p:nvPr/>
              </p:nvSpPr>
              <p:spPr bwMode="auto">
                <a:xfrm>
                  <a:off x="9663738" y="1494790"/>
                  <a:ext cx="17129" cy="8114"/>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47" name="Freeform 1766">
                  <a:extLst>
                    <a:ext uri="{FF2B5EF4-FFF2-40B4-BE49-F238E27FC236}">
                      <a16:creationId xmlns:a16="http://schemas.microsoft.com/office/drawing/2014/main" id="{7B9B7E2D-1E2B-4123-B6EC-CAEF3A43BC89}"/>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48" name="Rectangle 1767">
                  <a:extLst>
                    <a:ext uri="{FF2B5EF4-FFF2-40B4-BE49-F238E27FC236}">
                      <a16:creationId xmlns:a16="http://schemas.microsoft.com/office/drawing/2014/main" id="{176E2651-91AB-4B9F-8620-7ABC0648FD51}"/>
                    </a:ext>
                  </a:extLst>
                </p:cNvPr>
                <p:cNvSpPr>
                  <a:spLocks noChangeArrowheads="1"/>
                </p:cNvSpPr>
                <p:nvPr/>
              </p:nvSpPr>
              <p:spPr bwMode="auto">
                <a:xfrm>
                  <a:off x="9902639" y="1473154"/>
                  <a:ext cx="25242" cy="17129"/>
                </a:xfrm>
                <a:prstGeom prst="rect">
                  <a:avLst/>
                </a:pr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grpSp>
        <p:nvGrpSpPr>
          <p:cNvPr id="16" name="Group 15">
            <a:extLst>
              <a:ext uri="{FF2B5EF4-FFF2-40B4-BE49-F238E27FC236}">
                <a16:creationId xmlns:a16="http://schemas.microsoft.com/office/drawing/2014/main" id="{C841F28E-977B-4FB7-83B3-B1580169685B}"/>
              </a:ext>
            </a:extLst>
          </p:cNvPr>
          <p:cNvGrpSpPr/>
          <p:nvPr/>
        </p:nvGrpSpPr>
        <p:grpSpPr>
          <a:xfrm>
            <a:off x="9559977" y="2413322"/>
            <a:ext cx="593612" cy="407938"/>
            <a:chOff x="5645081" y="4860906"/>
            <a:chExt cx="777778" cy="534498"/>
          </a:xfrm>
        </p:grpSpPr>
        <p:grpSp>
          <p:nvGrpSpPr>
            <p:cNvPr id="9" name="Group 8">
              <a:extLst>
                <a:ext uri="{FF2B5EF4-FFF2-40B4-BE49-F238E27FC236}">
                  <a16:creationId xmlns:a16="http://schemas.microsoft.com/office/drawing/2014/main" id="{CEEE6CE6-1CBF-421A-B020-0C362491F99E}"/>
                </a:ext>
              </a:extLst>
            </p:cNvPr>
            <p:cNvGrpSpPr/>
            <p:nvPr/>
          </p:nvGrpSpPr>
          <p:grpSpPr>
            <a:xfrm>
              <a:off x="5645081" y="4860906"/>
              <a:ext cx="401759" cy="534498"/>
              <a:chOff x="5645081" y="4860906"/>
              <a:chExt cx="401759" cy="534498"/>
            </a:xfrm>
          </p:grpSpPr>
          <p:sp>
            <p:nvSpPr>
              <p:cNvPr id="164" name="Freeform 2080">
                <a:extLst>
                  <a:ext uri="{FF2B5EF4-FFF2-40B4-BE49-F238E27FC236}">
                    <a16:creationId xmlns:a16="http://schemas.microsoft.com/office/drawing/2014/main" id="{C65AFA1A-0674-4814-8C93-6493B92BC4D3}"/>
                  </a:ext>
                </a:extLst>
              </p:cNvPr>
              <p:cNvSpPr>
                <a:spLocks noEditPoints="1"/>
              </p:cNvSpPr>
              <p:nvPr/>
            </p:nvSpPr>
            <p:spPr bwMode="auto">
              <a:xfrm>
                <a:off x="5645081" y="4860906"/>
                <a:ext cx="401759" cy="53449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65" name="Freeform 2081">
                <a:extLst>
                  <a:ext uri="{FF2B5EF4-FFF2-40B4-BE49-F238E27FC236}">
                    <a16:creationId xmlns:a16="http://schemas.microsoft.com/office/drawing/2014/main" id="{36710DD8-18A5-401B-9259-1BE56DCED19B}"/>
                  </a:ext>
                </a:extLst>
              </p:cNvPr>
              <p:cNvSpPr>
                <a:spLocks/>
              </p:cNvSpPr>
              <p:nvPr/>
            </p:nvSpPr>
            <p:spPr bwMode="auto">
              <a:xfrm>
                <a:off x="5846846" y="4876834"/>
                <a:ext cx="184066" cy="184065"/>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15" name="Group 14">
              <a:extLst>
                <a:ext uri="{FF2B5EF4-FFF2-40B4-BE49-F238E27FC236}">
                  <a16:creationId xmlns:a16="http://schemas.microsoft.com/office/drawing/2014/main" id="{1792EDFA-6A46-4E22-863F-DC0B2E243A49}"/>
                </a:ext>
              </a:extLst>
            </p:cNvPr>
            <p:cNvGrpSpPr/>
            <p:nvPr/>
          </p:nvGrpSpPr>
          <p:grpSpPr>
            <a:xfrm>
              <a:off x="5795949" y="5002342"/>
              <a:ext cx="626910" cy="393062"/>
              <a:chOff x="5815927" y="5002342"/>
              <a:chExt cx="626910" cy="393062"/>
            </a:xfrm>
          </p:grpSpPr>
          <p:grpSp>
            <p:nvGrpSpPr>
              <p:cNvPr id="13" name="Group 12">
                <a:extLst>
                  <a:ext uri="{FF2B5EF4-FFF2-40B4-BE49-F238E27FC236}">
                    <a16:creationId xmlns:a16="http://schemas.microsoft.com/office/drawing/2014/main" id="{BBAC07A9-FBB9-4D97-AFDC-A8A4A462F231}"/>
                  </a:ext>
                </a:extLst>
              </p:cNvPr>
              <p:cNvGrpSpPr/>
              <p:nvPr/>
            </p:nvGrpSpPr>
            <p:grpSpPr>
              <a:xfrm>
                <a:off x="5938879" y="5045125"/>
                <a:ext cx="304596" cy="312183"/>
                <a:chOff x="5938879" y="5045125"/>
                <a:chExt cx="304596" cy="312183"/>
              </a:xfrm>
            </p:grpSpPr>
            <p:sp>
              <p:nvSpPr>
                <p:cNvPr id="11" name="Oval 10">
                  <a:extLst>
                    <a:ext uri="{FF2B5EF4-FFF2-40B4-BE49-F238E27FC236}">
                      <a16:creationId xmlns:a16="http://schemas.microsoft.com/office/drawing/2014/main" id="{9FE9264B-BF8C-4825-8D7D-605892D38FC5}"/>
                    </a:ext>
                  </a:extLst>
                </p:cNvPr>
                <p:cNvSpPr/>
                <p:nvPr/>
              </p:nvSpPr>
              <p:spPr bwMode="auto">
                <a:xfrm>
                  <a:off x="5938879" y="5155050"/>
                  <a:ext cx="144231" cy="144231"/>
                </a:xfrm>
                <a:prstGeom prst="ellips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0BD19145-9149-43AB-85EE-CF0CC727C8B1}"/>
                    </a:ext>
                  </a:extLst>
                </p:cNvPr>
                <p:cNvSpPr/>
                <p:nvPr/>
              </p:nvSpPr>
              <p:spPr bwMode="auto">
                <a:xfrm>
                  <a:off x="5938879" y="5278931"/>
                  <a:ext cx="144231" cy="783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2055CF0B-E4DE-41AA-9344-7F90D84DC023}"/>
                    </a:ext>
                  </a:extLst>
                </p:cNvPr>
                <p:cNvSpPr/>
                <p:nvPr/>
              </p:nvSpPr>
              <p:spPr bwMode="auto">
                <a:xfrm>
                  <a:off x="6046944" y="5045125"/>
                  <a:ext cx="196531" cy="196531"/>
                </a:xfrm>
                <a:prstGeom prst="ellips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4" name="Freeform 1907">
                <a:extLst>
                  <a:ext uri="{FF2B5EF4-FFF2-40B4-BE49-F238E27FC236}">
                    <a16:creationId xmlns:a16="http://schemas.microsoft.com/office/drawing/2014/main" id="{D85DD5A6-6FC9-470E-AF5D-2CFEF3FA3586}"/>
                  </a:ext>
                </a:extLst>
              </p:cNvPr>
              <p:cNvSpPr>
                <a:spLocks noEditPoints="1"/>
              </p:cNvSpPr>
              <p:nvPr/>
            </p:nvSpPr>
            <p:spPr bwMode="auto">
              <a:xfrm>
                <a:off x="5815927" y="5002342"/>
                <a:ext cx="626910" cy="393062"/>
              </a:xfrm>
              <a:custGeom>
                <a:avLst/>
                <a:gdLst>
                  <a:gd name="T0" fmla="*/ 85 w 160"/>
                  <a:gd name="T1" fmla="*/ 10 h 100"/>
                  <a:gd name="T2" fmla="*/ 109 w 160"/>
                  <a:gd name="T3" fmla="*/ 33 h 100"/>
                  <a:gd name="T4" fmla="*/ 120 w 160"/>
                  <a:gd name="T5" fmla="*/ 30 h 100"/>
                  <a:gd name="T6" fmla="*/ 140 w 160"/>
                  <a:gd name="T7" fmla="*/ 50 h 100"/>
                  <a:gd name="T8" fmla="*/ 139 w 160"/>
                  <a:gd name="T9" fmla="*/ 56 h 100"/>
                  <a:gd name="T10" fmla="*/ 150 w 160"/>
                  <a:gd name="T11" fmla="*/ 72 h 100"/>
                  <a:gd name="T12" fmla="*/ 132 w 160"/>
                  <a:gd name="T13" fmla="*/ 90 h 100"/>
                  <a:gd name="T14" fmla="*/ 130 w 160"/>
                  <a:gd name="T15" fmla="*/ 90 h 100"/>
                  <a:gd name="T16" fmla="*/ 130 w 160"/>
                  <a:gd name="T17" fmla="*/ 90 h 100"/>
                  <a:gd name="T18" fmla="*/ 30 w 160"/>
                  <a:gd name="T19" fmla="*/ 90 h 100"/>
                  <a:gd name="T20" fmla="*/ 10 w 160"/>
                  <a:gd name="T21" fmla="*/ 70 h 100"/>
                  <a:gd name="T22" fmla="*/ 30 w 160"/>
                  <a:gd name="T23" fmla="*/ 50 h 100"/>
                  <a:gd name="T24" fmla="*/ 33 w 160"/>
                  <a:gd name="T25" fmla="*/ 50 h 100"/>
                  <a:gd name="T26" fmla="*/ 51 w 160"/>
                  <a:gd name="T27" fmla="*/ 40 h 100"/>
                  <a:gd name="T28" fmla="*/ 61 w 160"/>
                  <a:gd name="T29" fmla="*/ 42 h 100"/>
                  <a:gd name="T30" fmla="*/ 60 w 160"/>
                  <a:gd name="T31" fmla="*/ 35 h 100"/>
                  <a:gd name="T32" fmla="*/ 85 w 160"/>
                  <a:gd name="T33" fmla="*/ 10 h 100"/>
                  <a:gd name="T34" fmla="*/ 85 w 160"/>
                  <a:gd name="T35" fmla="*/ 0 h 100"/>
                  <a:gd name="T36" fmla="*/ 50 w 160"/>
                  <a:gd name="T37" fmla="*/ 30 h 100"/>
                  <a:gd name="T38" fmla="*/ 28 w 160"/>
                  <a:gd name="T39" fmla="*/ 40 h 100"/>
                  <a:gd name="T40" fmla="*/ 0 w 160"/>
                  <a:gd name="T41" fmla="*/ 70 h 100"/>
                  <a:gd name="T42" fmla="*/ 30 w 160"/>
                  <a:gd name="T43" fmla="*/ 100 h 100"/>
                  <a:gd name="T44" fmla="*/ 130 w 160"/>
                  <a:gd name="T45" fmla="*/ 100 h 100"/>
                  <a:gd name="T46" fmla="*/ 132 w 160"/>
                  <a:gd name="T47" fmla="*/ 100 h 100"/>
                  <a:gd name="T48" fmla="*/ 160 w 160"/>
                  <a:gd name="T49" fmla="*/ 72 h 100"/>
                  <a:gd name="T50" fmla="*/ 150 w 160"/>
                  <a:gd name="T51" fmla="*/ 51 h 100"/>
                  <a:gd name="T52" fmla="*/ 150 w 160"/>
                  <a:gd name="T53" fmla="*/ 50 h 100"/>
                  <a:gd name="T54" fmla="*/ 120 w 160"/>
                  <a:gd name="T55" fmla="*/ 20 h 100"/>
                  <a:gd name="T56" fmla="*/ 116 w 160"/>
                  <a:gd name="T57" fmla="*/ 20 h 100"/>
                  <a:gd name="T58" fmla="*/ 85 w 160"/>
                  <a:gd name="T5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00">
                    <a:moveTo>
                      <a:pt x="85" y="10"/>
                    </a:moveTo>
                    <a:cubicBezTo>
                      <a:pt x="98" y="10"/>
                      <a:pt x="108" y="20"/>
                      <a:pt x="109" y="33"/>
                    </a:cubicBezTo>
                    <a:cubicBezTo>
                      <a:pt x="112" y="31"/>
                      <a:pt x="116" y="30"/>
                      <a:pt x="120" y="30"/>
                    </a:cubicBezTo>
                    <a:cubicBezTo>
                      <a:pt x="131" y="30"/>
                      <a:pt x="140" y="39"/>
                      <a:pt x="140" y="50"/>
                    </a:cubicBezTo>
                    <a:cubicBezTo>
                      <a:pt x="140" y="52"/>
                      <a:pt x="139" y="54"/>
                      <a:pt x="139" y="56"/>
                    </a:cubicBezTo>
                    <a:cubicBezTo>
                      <a:pt x="145" y="59"/>
                      <a:pt x="150" y="65"/>
                      <a:pt x="150" y="72"/>
                    </a:cubicBezTo>
                    <a:cubicBezTo>
                      <a:pt x="150" y="82"/>
                      <a:pt x="142" y="90"/>
                      <a:pt x="132" y="90"/>
                    </a:cubicBezTo>
                    <a:cubicBezTo>
                      <a:pt x="130" y="90"/>
                      <a:pt x="130" y="90"/>
                      <a:pt x="130" y="90"/>
                    </a:cubicBezTo>
                    <a:cubicBezTo>
                      <a:pt x="130" y="90"/>
                      <a:pt x="130" y="90"/>
                      <a:pt x="130" y="90"/>
                    </a:cubicBezTo>
                    <a:cubicBezTo>
                      <a:pt x="30" y="90"/>
                      <a:pt x="30" y="90"/>
                      <a:pt x="30" y="90"/>
                    </a:cubicBezTo>
                    <a:cubicBezTo>
                      <a:pt x="19" y="90"/>
                      <a:pt x="10" y="81"/>
                      <a:pt x="10" y="70"/>
                    </a:cubicBezTo>
                    <a:cubicBezTo>
                      <a:pt x="10" y="59"/>
                      <a:pt x="19" y="50"/>
                      <a:pt x="30" y="50"/>
                    </a:cubicBezTo>
                    <a:cubicBezTo>
                      <a:pt x="31" y="50"/>
                      <a:pt x="32" y="50"/>
                      <a:pt x="33" y="50"/>
                    </a:cubicBezTo>
                    <a:cubicBezTo>
                      <a:pt x="37" y="44"/>
                      <a:pt x="43" y="40"/>
                      <a:pt x="51" y="40"/>
                    </a:cubicBezTo>
                    <a:cubicBezTo>
                      <a:pt x="55" y="40"/>
                      <a:pt x="58" y="41"/>
                      <a:pt x="61" y="42"/>
                    </a:cubicBezTo>
                    <a:cubicBezTo>
                      <a:pt x="60" y="40"/>
                      <a:pt x="60" y="37"/>
                      <a:pt x="60" y="35"/>
                    </a:cubicBezTo>
                    <a:cubicBezTo>
                      <a:pt x="60" y="21"/>
                      <a:pt x="71" y="10"/>
                      <a:pt x="85" y="10"/>
                    </a:cubicBezTo>
                    <a:moveTo>
                      <a:pt x="85" y="0"/>
                    </a:moveTo>
                    <a:cubicBezTo>
                      <a:pt x="67" y="0"/>
                      <a:pt x="52" y="13"/>
                      <a:pt x="50" y="30"/>
                    </a:cubicBezTo>
                    <a:cubicBezTo>
                      <a:pt x="42" y="30"/>
                      <a:pt x="34" y="34"/>
                      <a:pt x="28" y="40"/>
                    </a:cubicBezTo>
                    <a:cubicBezTo>
                      <a:pt x="12" y="41"/>
                      <a:pt x="0" y="54"/>
                      <a:pt x="0" y="70"/>
                    </a:cubicBezTo>
                    <a:cubicBezTo>
                      <a:pt x="0" y="86"/>
                      <a:pt x="13" y="100"/>
                      <a:pt x="30" y="100"/>
                    </a:cubicBezTo>
                    <a:cubicBezTo>
                      <a:pt x="130" y="100"/>
                      <a:pt x="130" y="100"/>
                      <a:pt x="130" y="100"/>
                    </a:cubicBezTo>
                    <a:cubicBezTo>
                      <a:pt x="132" y="100"/>
                      <a:pt x="132" y="100"/>
                      <a:pt x="132" y="100"/>
                    </a:cubicBezTo>
                    <a:cubicBezTo>
                      <a:pt x="148" y="100"/>
                      <a:pt x="160" y="88"/>
                      <a:pt x="160" y="72"/>
                    </a:cubicBezTo>
                    <a:cubicBezTo>
                      <a:pt x="160" y="64"/>
                      <a:pt x="156" y="56"/>
                      <a:pt x="150" y="51"/>
                    </a:cubicBezTo>
                    <a:cubicBezTo>
                      <a:pt x="150" y="51"/>
                      <a:pt x="150" y="50"/>
                      <a:pt x="150" y="50"/>
                    </a:cubicBezTo>
                    <a:cubicBezTo>
                      <a:pt x="150" y="33"/>
                      <a:pt x="136" y="20"/>
                      <a:pt x="120" y="20"/>
                    </a:cubicBezTo>
                    <a:cubicBezTo>
                      <a:pt x="119" y="20"/>
                      <a:pt x="117" y="20"/>
                      <a:pt x="116" y="20"/>
                    </a:cubicBezTo>
                    <a:cubicBezTo>
                      <a:pt x="111" y="8"/>
                      <a:pt x="99" y="0"/>
                      <a:pt x="85" y="0"/>
                    </a:cubicBezTo>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nvGrpSpPr>
          <p:cNvPr id="168" name="Group 167">
            <a:extLst>
              <a:ext uri="{FF2B5EF4-FFF2-40B4-BE49-F238E27FC236}">
                <a16:creationId xmlns:a16="http://schemas.microsoft.com/office/drawing/2014/main" id="{A617A4F7-F906-4762-B670-5F06ABD4EB53}"/>
              </a:ext>
            </a:extLst>
          </p:cNvPr>
          <p:cNvGrpSpPr/>
          <p:nvPr/>
        </p:nvGrpSpPr>
        <p:grpSpPr>
          <a:xfrm>
            <a:off x="8353702" y="2413322"/>
            <a:ext cx="593612" cy="407938"/>
            <a:chOff x="5645081" y="4860906"/>
            <a:chExt cx="777778" cy="534498"/>
          </a:xfrm>
        </p:grpSpPr>
        <p:grpSp>
          <p:nvGrpSpPr>
            <p:cNvPr id="169" name="Group 168">
              <a:extLst>
                <a:ext uri="{FF2B5EF4-FFF2-40B4-BE49-F238E27FC236}">
                  <a16:creationId xmlns:a16="http://schemas.microsoft.com/office/drawing/2014/main" id="{431A2448-BB22-47B9-8D2D-B8D9050AC43F}"/>
                </a:ext>
              </a:extLst>
            </p:cNvPr>
            <p:cNvGrpSpPr/>
            <p:nvPr/>
          </p:nvGrpSpPr>
          <p:grpSpPr>
            <a:xfrm>
              <a:off x="5645081" y="4860906"/>
              <a:ext cx="401759" cy="534498"/>
              <a:chOff x="5645081" y="4860906"/>
              <a:chExt cx="401759" cy="534498"/>
            </a:xfrm>
          </p:grpSpPr>
          <p:sp>
            <p:nvSpPr>
              <p:cNvPr id="176" name="Freeform 2080">
                <a:extLst>
                  <a:ext uri="{FF2B5EF4-FFF2-40B4-BE49-F238E27FC236}">
                    <a16:creationId xmlns:a16="http://schemas.microsoft.com/office/drawing/2014/main" id="{E9710164-4E87-4468-9944-D69D7C30FE0A}"/>
                  </a:ext>
                </a:extLst>
              </p:cNvPr>
              <p:cNvSpPr>
                <a:spLocks noEditPoints="1"/>
              </p:cNvSpPr>
              <p:nvPr/>
            </p:nvSpPr>
            <p:spPr bwMode="auto">
              <a:xfrm>
                <a:off x="5645081" y="4860906"/>
                <a:ext cx="401759" cy="53449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77" name="Freeform 2081">
                <a:extLst>
                  <a:ext uri="{FF2B5EF4-FFF2-40B4-BE49-F238E27FC236}">
                    <a16:creationId xmlns:a16="http://schemas.microsoft.com/office/drawing/2014/main" id="{E3B5F44C-772A-4700-B024-F3D4EDFDFEC8}"/>
                  </a:ext>
                </a:extLst>
              </p:cNvPr>
              <p:cNvSpPr>
                <a:spLocks/>
              </p:cNvSpPr>
              <p:nvPr/>
            </p:nvSpPr>
            <p:spPr bwMode="auto">
              <a:xfrm>
                <a:off x="5846846" y="4876834"/>
                <a:ext cx="184066" cy="184065"/>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170" name="Group 169">
              <a:extLst>
                <a:ext uri="{FF2B5EF4-FFF2-40B4-BE49-F238E27FC236}">
                  <a16:creationId xmlns:a16="http://schemas.microsoft.com/office/drawing/2014/main" id="{88C86981-6B70-4645-A0D8-88472170F935}"/>
                </a:ext>
              </a:extLst>
            </p:cNvPr>
            <p:cNvGrpSpPr/>
            <p:nvPr/>
          </p:nvGrpSpPr>
          <p:grpSpPr>
            <a:xfrm>
              <a:off x="5795949" y="5002342"/>
              <a:ext cx="626910" cy="393062"/>
              <a:chOff x="5815927" y="5002342"/>
              <a:chExt cx="626910" cy="393062"/>
            </a:xfrm>
          </p:grpSpPr>
          <p:grpSp>
            <p:nvGrpSpPr>
              <p:cNvPr id="171" name="Group 170">
                <a:extLst>
                  <a:ext uri="{FF2B5EF4-FFF2-40B4-BE49-F238E27FC236}">
                    <a16:creationId xmlns:a16="http://schemas.microsoft.com/office/drawing/2014/main" id="{90A6B6EA-15E5-4508-AB1F-0A2515A890E9}"/>
                  </a:ext>
                </a:extLst>
              </p:cNvPr>
              <p:cNvGrpSpPr/>
              <p:nvPr/>
            </p:nvGrpSpPr>
            <p:grpSpPr>
              <a:xfrm>
                <a:off x="5938879" y="5045125"/>
                <a:ext cx="304596" cy="312183"/>
                <a:chOff x="5938879" y="5045125"/>
                <a:chExt cx="304596" cy="312183"/>
              </a:xfrm>
            </p:grpSpPr>
            <p:sp>
              <p:nvSpPr>
                <p:cNvPr id="173" name="Oval 172">
                  <a:extLst>
                    <a:ext uri="{FF2B5EF4-FFF2-40B4-BE49-F238E27FC236}">
                      <a16:creationId xmlns:a16="http://schemas.microsoft.com/office/drawing/2014/main" id="{D9D7C4FF-2216-4BC1-AED4-D4AFE1977CE3}"/>
                    </a:ext>
                  </a:extLst>
                </p:cNvPr>
                <p:cNvSpPr/>
                <p:nvPr/>
              </p:nvSpPr>
              <p:spPr bwMode="auto">
                <a:xfrm>
                  <a:off x="5938879" y="5155050"/>
                  <a:ext cx="144231" cy="144231"/>
                </a:xfrm>
                <a:prstGeom prst="ellips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AFA293BA-3EB6-4C39-8310-9B5217F8AD75}"/>
                    </a:ext>
                  </a:extLst>
                </p:cNvPr>
                <p:cNvSpPr/>
                <p:nvPr/>
              </p:nvSpPr>
              <p:spPr bwMode="auto">
                <a:xfrm>
                  <a:off x="5938879" y="5278931"/>
                  <a:ext cx="144231" cy="783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DB7566FE-D80F-4971-855B-4BEB8AA10540}"/>
                    </a:ext>
                  </a:extLst>
                </p:cNvPr>
                <p:cNvSpPr/>
                <p:nvPr/>
              </p:nvSpPr>
              <p:spPr bwMode="auto">
                <a:xfrm>
                  <a:off x="6046944" y="5045125"/>
                  <a:ext cx="196531" cy="196531"/>
                </a:xfrm>
                <a:prstGeom prst="ellips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72" name="Freeform 1907">
                <a:extLst>
                  <a:ext uri="{FF2B5EF4-FFF2-40B4-BE49-F238E27FC236}">
                    <a16:creationId xmlns:a16="http://schemas.microsoft.com/office/drawing/2014/main" id="{E211B484-C750-4999-9247-BAA50014A304}"/>
                  </a:ext>
                </a:extLst>
              </p:cNvPr>
              <p:cNvSpPr>
                <a:spLocks noEditPoints="1"/>
              </p:cNvSpPr>
              <p:nvPr/>
            </p:nvSpPr>
            <p:spPr bwMode="auto">
              <a:xfrm>
                <a:off x="5815927" y="5002342"/>
                <a:ext cx="626910" cy="393062"/>
              </a:xfrm>
              <a:custGeom>
                <a:avLst/>
                <a:gdLst>
                  <a:gd name="T0" fmla="*/ 85 w 160"/>
                  <a:gd name="T1" fmla="*/ 10 h 100"/>
                  <a:gd name="T2" fmla="*/ 109 w 160"/>
                  <a:gd name="T3" fmla="*/ 33 h 100"/>
                  <a:gd name="T4" fmla="*/ 120 w 160"/>
                  <a:gd name="T5" fmla="*/ 30 h 100"/>
                  <a:gd name="T6" fmla="*/ 140 w 160"/>
                  <a:gd name="T7" fmla="*/ 50 h 100"/>
                  <a:gd name="T8" fmla="*/ 139 w 160"/>
                  <a:gd name="T9" fmla="*/ 56 h 100"/>
                  <a:gd name="T10" fmla="*/ 150 w 160"/>
                  <a:gd name="T11" fmla="*/ 72 h 100"/>
                  <a:gd name="T12" fmla="*/ 132 w 160"/>
                  <a:gd name="T13" fmla="*/ 90 h 100"/>
                  <a:gd name="T14" fmla="*/ 130 w 160"/>
                  <a:gd name="T15" fmla="*/ 90 h 100"/>
                  <a:gd name="T16" fmla="*/ 130 w 160"/>
                  <a:gd name="T17" fmla="*/ 90 h 100"/>
                  <a:gd name="T18" fmla="*/ 30 w 160"/>
                  <a:gd name="T19" fmla="*/ 90 h 100"/>
                  <a:gd name="T20" fmla="*/ 10 w 160"/>
                  <a:gd name="T21" fmla="*/ 70 h 100"/>
                  <a:gd name="T22" fmla="*/ 30 w 160"/>
                  <a:gd name="T23" fmla="*/ 50 h 100"/>
                  <a:gd name="T24" fmla="*/ 33 w 160"/>
                  <a:gd name="T25" fmla="*/ 50 h 100"/>
                  <a:gd name="T26" fmla="*/ 51 w 160"/>
                  <a:gd name="T27" fmla="*/ 40 h 100"/>
                  <a:gd name="T28" fmla="*/ 61 w 160"/>
                  <a:gd name="T29" fmla="*/ 42 h 100"/>
                  <a:gd name="T30" fmla="*/ 60 w 160"/>
                  <a:gd name="T31" fmla="*/ 35 h 100"/>
                  <a:gd name="T32" fmla="*/ 85 w 160"/>
                  <a:gd name="T33" fmla="*/ 10 h 100"/>
                  <a:gd name="T34" fmla="*/ 85 w 160"/>
                  <a:gd name="T35" fmla="*/ 0 h 100"/>
                  <a:gd name="T36" fmla="*/ 50 w 160"/>
                  <a:gd name="T37" fmla="*/ 30 h 100"/>
                  <a:gd name="T38" fmla="*/ 28 w 160"/>
                  <a:gd name="T39" fmla="*/ 40 h 100"/>
                  <a:gd name="T40" fmla="*/ 0 w 160"/>
                  <a:gd name="T41" fmla="*/ 70 h 100"/>
                  <a:gd name="T42" fmla="*/ 30 w 160"/>
                  <a:gd name="T43" fmla="*/ 100 h 100"/>
                  <a:gd name="T44" fmla="*/ 130 w 160"/>
                  <a:gd name="T45" fmla="*/ 100 h 100"/>
                  <a:gd name="T46" fmla="*/ 132 w 160"/>
                  <a:gd name="T47" fmla="*/ 100 h 100"/>
                  <a:gd name="T48" fmla="*/ 160 w 160"/>
                  <a:gd name="T49" fmla="*/ 72 h 100"/>
                  <a:gd name="T50" fmla="*/ 150 w 160"/>
                  <a:gd name="T51" fmla="*/ 51 h 100"/>
                  <a:gd name="T52" fmla="*/ 150 w 160"/>
                  <a:gd name="T53" fmla="*/ 50 h 100"/>
                  <a:gd name="T54" fmla="*/ 120 w 160"/>
                  <a:gd name="T55" fmla="*/ 20 h 100"/>
                  <a:gd name="T56" fmla="*/ 116 w 160"/>
                  <a:gd name="T57" fmla="*/ 20 h 100"/>
                  <a:gd name="T58" fmla="*/ 85 w 160"/>
                  <a:gd name="T5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100">
                    <a:moveTo>
                      <a:pt x="85" y="10"/>
                    </a:moveTo>
                    <a:cubicBezTo>
                      <a:pt x="98" y="10"/>
                      <a:pt x="108" y="20"/>
                      <a:pt x="109" y="33"/>
                    </a:cubicBezTo>
                    <a:cubicBezTo>
                      <a:pt x="112" y="31"/>
                      <a:pt x="116" y="30"/>
                      <a:pt x="120" y="30"/>
                    </a:cubicBezTo>
                    <a:cubicBezTo>
                      <a:pt x="131" y="30"/>
                      <a:pt x="140" y="39"/>
                      <a:pt x="140" y="50"/>
                    </a:cubicBezTo>
                    <a:cubicBezTo>
                      <a:pt x="140" y="52"/>
                      <a:pt x="139" y="54"/>
                      <a:pt x="139" y="56"/>
                    </a:cubicBezTo>
                    <a:cubicBezTo>
                      <a:pt x="145" y="59"/>
                      <a:pt x="150" y="65"/>
                      <a:pt x="150" y="72"/>
                    </a:cubicBezTo>
                    <a:cubicBezTo>
                      <a:pt x="150" y="82"/>
                      <a:pt x="142" y="90"/>
                      <a:pt x="132" y="90"/>
                    </a:cubicBezTo>
                    <a:cubicBezTo>
                      <a:pt x="130" y="90"/>
                      <a:pt x="130" y="90"/>
                      <a:pt x="130" y="90"/>
                    </a:cubicBezTo>
                    <a:cubicBezTo>
                      <a:pt x="130" y="90"/>
                      <a:pt x="130" y="90"/>
                      <a:pt x="130" y="90"/>
                    </a:cubicBezTo>
                    <a:cubicBezTo>
                      <a:pt x="30" y="90"/>
                      <a:pt x="30" y="90"/>
                      <a:pt x="30" y="90"/>
                    </a:cubicBezTo>
                    <a:cubicBezTo>
                      <a:pt x="19" y="90"/>
                      <a:pt x="10" y="81"/>
                      <a:pt x="10" y="70"/>
                    </a:cubicBezTo>
                    <a:cubicBezTo>
                      <a:pt x="10" y="59"/>
                      <a:pt x="19" y="50"/>
                      <a:pt x="30" y="50"/>
                    </a:cubicBezTo>
                    <a:cubicBezTo>
                      <a:pt x="31" y="50"/>
                      <a:pt x="32" y="50"/>
                      <a:pt x="33" y="50"/>
                    </a:cubicBezTo>
                    <a:cubicBezTo>
                      <a:pt x="37" y="44"/>
                      <a:pt x="43" y="40"/>
                      <a:pt x="51" y="40"/>
                    </a:cubicBezTo>
                    <a:cubicBezTo>
                      <a:pt x="55" y="40"/>
                      <a:pt x="58" y="41"/>
                      <a:pt x="61" y="42"/>
                    </a:cubicBezTo>
                    <a:cubicBezTo>
                      <a:pt x="60" y="40"/>
                      <a:pt x="60" y="37"/>
                      <a:pt x="60" y="35"/>
                    </a:cubicBezTo>
                    <a:cubicBezTo>
                      <a:pt x="60" y="21"/>
                      <a:pt x="71" y="10"/>
                      <a:pt x="85" y="10"/>
                    </a:cubicBezTo>
                    <a:moveTo>
                      <a:pt x="85" y="0"/>
                    </a:moveTo>
                    <a:cubicBezTo>
                      <a:pt x="67" y="0"/>
                      <a:pt x="52" y="13"/>
                      <a:pt x="50" y="30"/>
                    </a:cubicBezTo>
                    <a:cubicBezTo>
                      <a:pt x="42" y="30"/>
                      <a:pt x="34" y="34"/>
                      <a:pt x="28" y="40"/>
                    </a:cubicBezTo>
                    <a:cubicBezTo>
                      <a:pt x="12" y="41"/>
                      <a:pt x="0" y="54"/>
                      <a:pt x="0" y="70"/>
                    </a:cubicBezTo>
                    <a:cubicBezTo>
                      <a:pt x="0" y="86"/>
                      <a:pt x="13" y="100"/>
                      <a:pt x="30" y="100"/>
                    </a:cubicBezTo>
                    <a:cubicBezTo>
                      <a:pt x="130" y="100"/>
                      <a:pt x="130" y="100"/>
                      <a:pt x="130" y="100"/>
                    </a:cubicBezTo>
                    <a:cubicBezTo>
                      <a:pt x="132" y="100"/>
                      <a:pt x="132" y="100"/>
                      <a:pt x="132" y="100"/>
                    </a:cubicBezTo>
                    <a:cubicBezTo>
                      <a:pt x="148" y="100"/>
                      <a:pt x="160" y="88"/>
                      <a:pt x="160" y="72"/>
                    </a:cubicBezTo>
                    <a:cubicBezTo>
                      <a:pt x="160" y="64"/>
                      <a:pt x="156" y="56"/>
                      <a:pt x="150" y="51"/>
                    </a:cubicBezTo>
                    <a:cubicBezTo>
                      <a:pt x="150" y="51"/>
                      <a:pt x="150" y="50"/>
                      <a:pt x="150" y="50"/>
                    </a:cubicBezTo>
                    <a:cubicBezTo>
                      <a:pt x="150" y="33"/>
                      <a:pt x="136" y="20"/>
                      <a:pt x="120" y="20"/>
                    </a:cubicBezTo>
                    <a:cubicBezTo>
                      <a:pt x="119" y="20"/>
                      <a:pt x="117" y="20"/>
                      <a:pt x="116" y="20"/>
                    </a:cubicBezTo>
                    <a:cubicBezTo>
                      <a:pt x="111" y="8"/>
                      <a:pt x="99" y="0"/>
                      <a:pt x="85" y="0"/>
                    </a:cubicBezTo>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nvGrpSpPr>
          <p:cNvPr id="27" name="Group 26">
            <a:extLst>
              <a:ext uri="{FF2B5EF4-FFF2-40B4-BE49-F238E27FC236}">
                <a16:creationId xmlns:a16="http://schemas.microsoft.com/office/drawing/2014/main" id="{A2DC8547-8F0A-4FFB-A794-DD5C48A7EAAB}"/>
              </a:ext>
            </a:extLst>
          </p:cNvPr>
          <p:cNvGrpSpPr/>
          <p:nvPr/>
        </p:nvGrpSpPr>
        <p:grpSpPr>
          <a:xfrm>
            <a:off x="10757600" y="2413322"/>
            <a:ext cx="610917" cy="407938"/>
            <a:chOff x="10971826" y="2964666"/>
            <a:chExt cx="800452" cy="534498"/>
          </a:xfrm>
        </p:grpSpPr>
        <p:grpSp>
          <p:nvGrpSpPr>
            <p:cNvPr id="178" name="Group 177">
              <a:extLst>
                <a:ext uri="{FF2B5EF4-FFF2-40B4-BE49-F238E27FC236}">
                  <a16:creationId xmlns:a16="http://schemas.microsoft.com/office/drawing/2014/main" id="{4A1A6E96-A695-4FF8-B6DA-946B7421FD92}"/>
                </a:ext>
              </a:extLst>
            </p:cNvPr>
            <p:cNvGrpSpPr/>
            <p:nvPr/>
          </p:nvGrpSpPr>
          <p:grpSpPr>
            <a:xfrm>
              <a:off x="11370519" y="2964666"/>
              <a:ext cx="401759" cy="534498"/>
              <a:chOff x="7574899" y="4412501"/>
              <a:chExt cx="182410" cy="242678"/>
            </a:xfrm>
            <a:solidFill>
              <a:schemeClr val="tx2"/>
            </a:solidFill>
          </p:grpSpPr>
          <p:sp>
            <p:nvSpPr>
              <p:cNvPr id="179" name="Freeform 2080">
                <a:extLst>
                  <a:ext uri="{FF2B5EF4-FFF2-40B4-BE49-F238E27FC236}">
                    <a16:creationId xmlns:a16="http://schemas.microsoft.com/office/drawing/2014/main" id="{737A7892-9156-411A-BC48-7BE22E29D0FB}"/>
                  </a:ext>
                </a:extLst>
              </p:cNvPr>
              <p:cNvSpPr>
                <a:spLocks noEditPoints="1"/>
              </p:cNvSpPr>
              <p:nvPr/>
            </p:nvSpPr>
            <p:spPr bwMode="auto">
              <a:xfrm>
                <a:off x="7574899" y="4412501"/>
                <a:ext cx="182410" cy="24267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80" name="Freeform 2081">
                <a:extLst>
                  <a:ext uri="{FF2B5EF4-FFF2-40B4-BE49-F238E27FC236}">
                    <a16:creationId xmlns:a16="http://schemas.microsoft.com/office/drawing/2014/main" id="{30C3DB70-A82A-47C9-9D37-4E225E99B474}"/>
                  </a:ext>
                </a:extLst>
              </p:cNvPr>
              <p:cNvSpPr>
                <a:spLocks/>
              </p:cNvSpPr>
              <p:nvPr/>
            </p:nvSpPr>
            <p:spPr bwMode="auto">
              <a:xfrm>
                <a:off x="7666506" y="4419733"/>
                <a:ext cx="83571" cy="83571"/>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22" name="Group 21">
              <a:extLst>
                <a:ext uri="{FF2B5EF4-FFF2-40B4-BE49-F238E27FC236}">
                  <a16:creationId xmlns:a16="http://schemas.microsoft.com/office/drawing/2014/main" id="{C342FD98-932A-42C0-80E0-F1546721BC0E}"/>
                </a:ext>
              </a:extLst>
            </p:cNvPr>
            <p:cNvGrpSpPr/>
            <p:nvPr/>
          </p:nvGrpSpPr>
          <p:grpSpPr>
            <a:xfrm>
              <a:off x="10971826" y="3123990"/>
              <a:ext cx="565657" cy="375174"/>
              <a:chOff x="10747381" y="3013229"/>
              <a:chExt cx="732653" cy="485935"/>
            </a:xfrm>
          </p:grpSpPr>
          <p:grpSp>
            <p:nvGrpSpPr>
              <p:cNvPr id="20" name="Group 19">
                <a:extLst>
                  <a:ext uri="{FF2B5EF4-FFF2-40B4-BE49-F238E27FC236}">
                    <a16:creationId xmlns:a16="http://schemas.microsoft.com/office/drawing/2014/main" id="{BF4BA34D-AE97-4DB2-81AB-FB1327927ED9}"/>
                  </a:ext>
                </a:extLst>
              </p:cNvPr>
              <p:cNvGrpSpPr/>
              <p:nvPr/>
            </p:nvGrpSpPr>
            <p:grpSpPr>
              <a:xfrm>
                <a:off x="11182244" y="3065018"/>
                <a:ext cx="274149" cy="404620"/>
                <a:chOff x="11182244" y="3065018"/>
                <a:chExt cx="274149" cy="404620"/>
              </a:xfrm>
            </p:grpSpPr>
            <p:sp>
              <p:nvSpPr>
                <p:cNvPr id="19" name="Rectangle 18">
                  <a:extLst>
                    <a:ext uri="{FF2B5EF4-FFF2-40B4-BE49-F238E27FC236}">
                      <a16:creationId xmlns:a16="http://schemas.microsoft.com/office/drawing/2014/main" id="{A3247752-E179-4DCA-A5F3-E48260823C47}"/>
                    </a:ext>
                  </a:extLst>
                </p:cNvPr>
                <p:cNvSpPr/>
                <p:nvPr/>
              </p:nvSpPr>
              <p:spPr bwMode="auto">
                <a:xfrm>
                  <a:off x="11182244" y="3065018"/>
                  <a:ext cx="274149" cy="171593"/>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Rectangle 180">
                  <a:extLst>
                    <a:ext uri="{FF2B5EF4-FFF2-40B4-BE49-F238E27FC236}">
                      <a16:creationId xmlns:a16="http://schemas.microsoft.com/office/drawing/2014/main" id="{1A317A89-F58E-4118-A2F4-05A8A4766CE5}"/>
                    </a:ext>
                  </a:extLst>
                </p:cNvPr>
                <p:cNvSpPr/>
                <p:nvPr/>
              </p:nvSpPr>
              <p:spPr bwMode="auto">
                <a:xfrm>
                  <a:off x="11182244" y="3298045"/>
                  <a:ext cx="274149" cy="171593"/>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43AED123-F77E-4B7F-95CA-8A9EC01A4005}"/>
                  </a:ext>
                </a:extLst>
              </p:cNvPr>
              <p:cNvGrpSpPr/>
              <p:nvPr/>
            </p:nvGrpSpPr>
            <p:grpSpPr>
              <a:xfrm>
                <a:off x="10747381" y="3013229"/>
                <a:ext cx="732653" cy="485935"/>
                <a:chOff x="8444427" y="5483977"/>
                <a:chExt cx="732653" cy="485935"/>
              </a:xfrm>
              <a:solidFill>
                <a:schemeClr val="accent1"/>
              </a:solidFill>
            </p:grpSpPr>
            <p:sp>
              <p:nvSpPr>
                <p:cNvPr id="152" name="Freeform 11">
                  <a:extLst>
                    <a:ext uri="{FF2B5EF4-FFF2-40B4-BE49-F238E27FC236}">
                      <a16:creationId xmlns:a16="http://schemas.microsoft.com/office/drawing/2014/main" id="{9F070C99-FEF4-4CE5-8118-A473D8219FC9}"/>
                    </a:ext>
                  </a:extLst>
                </p:cNvPr>
                <p:cNvSpPr>
                  <a:spLocks noEditPoints="1"/>
                </p:cNvSpPr>
                <p:nvPr/>
              </p:nvSpPr>
              <p:spPr bwMode="auto">
                <a:xfrm>
                  <a:off x="8444427" y="5483977"/>
                  <a:ext cx="732653" cy="229318"/>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grpFill/>
                <a:ln w="0">
                  <a:noFill/>
                  <a:prstDash val="solid"/>
                  <a:round/>
                  <a:headEnd/>
                  <a:tailEnd/>
                </a:ln>
              </p:spPr>
              <p:txBody>
                <a:bodyPr vert="horz" wrap="square" lIns="91390" tIns="45695" rIns="91390" bIns="45695" numCol="1" anchor="t" anchorCtr="0" compatLnSpc="1">
                  <a:prstTxWarp prst="textNoShape">
                    <a:avLst/>
                  </a:prstTxWarp>
                </a:bodyPr>
                <a:lstStyle/>
                <a:p>
                  <a:pPr defTabSz="913979">
                    <a:defRPr/>
                  </a:pPr>
                  <a:endParaRPr lang="en-US" sz="1799" kern="0">
                    <a:solidFill>
                      <a:srgbClr val="505050"/>
                    </a:solidFill>
                    <a:latin typeface="Segoe UI"/>
                  </a:endParaRPr>
                </a:p>
              </p:txBody>
            </p:sp>
            <p:sp>
              <p:nvSpPr>
                <p:cNvPr id="153" name="Freeform 11">
                  <a:extLst>
                    <a:ext uri="{FF2B5EF4-FFF2-40B4-BE49-F238E27FC236}">
                      <a16:creationId xmlns:a16="http://schemas.microsoft.com/office/drawing/2014/main" id="{DC6B3363-B731-461F-AF96-710BA51D37D8}"/>
                    </a:ext>
                  </a:extLst>
                </p:cNvPr>
                <p:cNvSpPr>
                  <a:spLocks noEditPoints="1"/>
                </p:cNvSpPr>
                <p:nvPr/>
              </p:nvSpPr>
              <p:spPr bwMode="auto">
                <a:xfrm>
                  <a:off x="8444427" y="5740594"/>
                  <a:ext cx="732653" cy="229318"/>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grpFill/>
                <a:ln w="0">
                  <a:noFill/>
                  <a:prstDash val="solid"/>
                  <a:round/>
                  <a:headEnd/>
                  <a:tailEnd/>
                </a:ln>
              </p:spPr>
              <p:txBody>
                <a:bodyPr vert="horz" wrap="square" lIns="91390" tIns="45695" rIns="91390" bIns="45695" numCol="1" anchor="t" anchorCtr="0" compatLnSpc="1">
                  <a:prstTxWarp prst="textNoShape">
                    <a:avLst/>
                  </a:prstTxWarp>
                </a:bodyPr>
                <a:lstStyle/>
                <a:p>
                  <a:pPr defTabSz="913979">
                    <a:defRPr/>
                  </a:pPr>
                  <a:endParaRPr lang="en-US" sz="1799" kern="0">
                    <a:solidFill>
                      <a:srgbClr val="505050"/>
                    </a:solidFill>
                    <a:latin typeface="Segoe UI"/>
                  </a:endParaRPr>
                </a:p>
              </p:txBody>
            </p:sp>
          </p:grpSp>
        </p:grpSp>
      </p:grpSp>
      <p:grpSp>
        <p:nvGrpSpPr>
          <p:cNvPr id="234" name="Group 233">
            <a:extLst>
              <a:ext uri="{FF2B5EF4-FFF2-40B4-BE49-F238E27FC236}">
                <a16:creationId xmlns:a16="http://schemas.microsoft.com/office/drawing/2014/main" id="{905D981D-1539-4AA9-9BD2-B85B057585D0}"/>
              </a:ext>
            </a:extLst>
          </p:cNvPr>
          <p:cNvGrpSpPr/>
          <p:nvPr/>
        </p:nvGrpSpPr>
        <p:grpSpPr>
          <a:xfrm>
            <a:off x="5163861" y="2341830"/>
            <a:ext cx="503144" cy="550925"/>
            <a:chOff x="5195742" y="2770680"/>
            <a:chExt cx="659241" cy="721845"/>
          </a:xfrm>
        </p:grpSpPr>
        <p:grpSp>
          <p:nvGrpSpPr>
            <p:cNvPr id="217" name="Group 216">
              <a:extLst>
                <a:ext uri="{FF2B5EF4-FFF2-40B4-BE49-F238E27FC236}">
                  <a16:creationId xmlns:a16="http://schemas.microsoft.com/office/drawing/2014/main" id="{84DC530C-AEB3-4736-A67C-E26041EEF181}"/>
                </a:ext>
              </a:extLst>
            </p:cNvPr>
            <p:cNvGrpSpPr/>
            <p:nvPr/>
          </p:nvGrpSpPr>
          <p:grpSpPr>
            <a:xfrm>
              <a:off x="5195742" y="2770680"/>
              <a:ext cx="560114" cy="574288"/>
              <a:chOff x="6920672" y="4626315"/>
              <a:chExt cx="560114" cy="574288"/>
            </a:xfrm>
          </p:grpSpPr>
          <p:sp>
            <p:nvSpPr>
              <p:cNvPr id="202" name="Freeform 2167">
                <a:extLst>
                  <a:ext uri="{FF2B5EF4-FFF2-40B4-BE49-F238E27FC236}">
                    <a16:creationId xmlns:a16="http://schemas.microsoft.com/office/drawing/2014/main" id="{B09331C0-F6C6-47EE-B946-7EC75FE07B4D}"/>
                  </a:ext>
                </a:extLst>
              </p:cNvPr>
              <p:cNvSpPr>
                <a:spLocks/>
              </p:cNvSpPr>
              <p:nvPr/>
            </p:nvSpPr>
            <p:spPr bwMode="auto">
              <a:xfrm>
                <a:off x="6929946" y="4853776"/>
                <a:ext cx="547131" cy="137246"/>
              </a:xfrm>
              <a:custGeom>
                <a:avLst/>
                <a:gdLst>
                  <a:gd name="T0" fmla="*/ 236 w 295"/>
                  <a:gd name="T1" fmla="*/ 74 h 74"/>
                  <a:gd name="T2" fmla="*/ 59 w 295"/>
                  <a:gd name="T3" fmla="*/ 74 h 74"/>
                  <a:gd name="T4" fmla="*/ 0 w 295"/>
                  <a:gd name="T5" fmla="*/ 15 h 74"/>
                  <a:gd name="T6" fmla="*/ 11 w 295"/>
                  <a:gd name="T7" fmla="*/ 0 h 74"/>
                  <a:gd name="T8" fmla="*/ 66 w 295"/>
                  <a:gd name="T9" fmla="*/ 55 h 74"/>
                  <a:gd name="T10" fmla="*/ 229 w 295"/>
                  <a:gd name="T11" fmla="*/ 55 h 74"/>
                  <a:gd name="T12" fmla="*/ 283 w 295"/>
                  <a:gd name="T13" fmla="*/ 0 h 74"/>
                  <a:gd name="T14" fmla="*/ 295 w 295"/>
                  <a:gd name="T15" fmla="*/ 15 h 74"/>
                  <a:gd name="T16" fmla="*/ 236 w 295"/>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74">
                    <a:moveTo>
                      <a:pt x="236" y="74"/>
                    </a:moveTo>
                    <a:lnTo>
                      <a:pt x="59" y="74"/>
                    </a:lnTo>
                    <a:lnTo>
                      <a:pt x="0" y="15"/>
                    </a:lnTo>
                    <a:lnTo>
                      <a:pt x="11" y="0"/>
                    </a:lnTo>
                    <a:lnTo>
                      <a:pt x="66" y="55"/>
                    </a:lnTo>
                    <a:lnTo>
                      <a:pt x="229" y="55"/>
                    </a:lnTo>
                    <a:lnTo>
                      <a:pt x="283" y="0"/>
                    </a:lnTo>
                    <a:lnTo>
                      <a:pt x="295" y="15"/>
                    </a:lnTo>
                    <a:lnTo>
                      <a:pt x="236" y="74"/>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200" name="Freeform 2165">
                <a:extLst>
                  <a:ext uri="{FF2B5EF4-FFF2-40B4-BE49-F238E27FC236}">
                    <a16:creationId xmlns:a16="http://schemas.microsoft.com/office/drawing/2014/main" id="{4F2AF25E-2E69-4885-8788-D1F206D8731B}"/>
                  </a:ext>
                </a:extLst>
              </p:cNvPr>
              <p:cNvSpPr>
                <a:spLocks/>
              </p:cNvSpPr>
              <p:nvPr/>
            </p:nvSpPr>
            <p:spPr bwMode="auto">
              <a:xfrm>
                <a:off x="6920672" y="4788862"/>
                <a:ext cx="560114" cy="411741"/>
              </a:xfrm>
              <a:custGeom>
                <a:avLst/>
                <a:gdLst>
                  <a:gd name="T0" fmla="*/ 302 w 302"/>
                  <a:gd name="T1" fmla="*/ 222 h 222"/>
                  <a:gd name="T2" fmla="*/ 0 w 302"/>
                  <a:gd name="T3" fmla="*/ 222 h 222"/>
                  <a:gd name="T4" fmla="*/ 0 w 302"/>
                  <a:gd name="T5" fmla="*/ 33 h 222"/>
                  <a:gd name="T6" fmla="*/ 45 w 302"/>
                  <a:gd name="T7" fmla="*/ 7 h 222"/>
                  <a:gd name="T8" fmla="*/ 54 w 302"/>
                  <a:gd name="T9" fmla="*/ 21 h 222"/>
                  <a:gd name="T10" fmla="*/ 19 w 302"/>
                  <a:gd name="T11" fmla="*/ 42 h 222"/>
                  <a:gd name="T12" fmla="*/ 19 w 302"/>
                  <a:gd name="T13" fmla="*/ 203 h 222"/>
                  <a:gd name="T14" fmla="*/ 283 w 302"/>
                  <a:gd name="T15" fmla="*/ 203 h 222"/>
                  <a:gd name="T16" fmla="*/ 283 w 302"/>
                  <a:gd name="T17" fmla="*/ 42 h 222"/>
                  <a:gd name="T18" fmla="*/ 243 w 302"/>
                  <a:gd name="T19" fmla="*/ 14 h 222"/>
                  <a:gd name="T20" fmla="*/ 253 w 302"/>
                  <a:gd name="T21" fmla="*/ 0 h 222"/>
                  <a:gd name="T22" fmla="*/ 302 w 302"/>
                  <a:gd name="T23" fmla="*/ 33 h 222"/>
                  <a:gd name="T24" fmla="*/ 302 w 302"/>
                  <a:gd name="T25"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222">
                    <a:moveTo>
                      <a:pt x="302" y="222"/>
                    </a:moveTo>
                    <a:lnTo>
                      <a:pt x="0" y="222"/>
                    </a:lnTo>
                    <a:lnTo>
                      <a:pt x="0" y="33"/>
                    </a:lnTo>
                    <a:lnTo>
                      <a:pt x="45" y="7"/>
                    </a:lnTo>
                    <a:lnTo>
                      <a:pt x="54" y="21"/>
                    </a:lnTo>
                    <a:lnTo>
                      <a:pt x="19" y="42"/>
                    </a:lnTo>
                    <a:lnTo>
                      <a:pt x="19" y="203"/>
                    </a:lnTo>
                    <a:lnTo>
                      <a:pt x="283" y="203"/>
                    </a:lnTo>
                    <a:lnTo>
                      <a:pt x="283" y="42"/>
                    </a:lnTo>
                    <a:lnTo>
                      <a:pt x="243" y="14"/>
                    </a:lnTo>
                    <a:lnTo>
                      <a:pt x="253" y="0"/>
                    </a:lnTo>
                    <a:lnTo>
                      <a:pt x="302" y="33"/>
                    </a:lnTo>
                    <a:lnTo>
                      <a:pt x="302" y="222"/>
                    </a:ln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nvGrpSpPr>
              <p:cNvPr id="208" name="Group 207">
                <a:extLst>
                  <a:ext uri="{FF2B5EF4-FFF2-40B4-BE49-F238E27FC236}">
                    <a16:creationId xmlns:a16="http://schemas.microsoft.com/office/drawing/2014/main" id="{337469E1-FC3A-42C4-BA15-669CD99CEB55}"/>
                  </a:ext>
                </a:extLst>
              </p:cNvPr>
              <p:cNvGrpSpPr/>
              <p:nvPr/>
            </p:nvGrpSpPr>
            <p:grpSpPr>
              <a:xfrm>
                <a:off x="7001129" y="4626315"/>
                <a:ext cx="401759" cy="534498"/>
                <a:chOff x="7574899" y="4412501"/>
                <a:chExt cx="182410" cy="242678"/>
              </a:xfrm>
              <a:solidFill>
                <a:schemeClr val="tx2"/>
              </a:solidFill>
            </p:grpSpPr>
            <p:sp>
              <p:nvSpPr>
                <p:cNvPr id="209" name="Freeform 2080">
                  <a:extLst>
                    <a:ext uri="{FF2B5EF4-FFF2-40B4-BE49-F238E27FC236}">
                      <a16:creationId xmlns:a16="http://schemas.microsoft.com/office/drawing/2014/main" id="{332B7C5C-0A12-4984-A046-6C589271C347}"/>
                    </a:ext>
                  </a:extLst>
                </p:cNvPr>
                <p:cNvSpPr>
                  <a:spLocks noEditPoints="1"/>
                </p:cNvSpPr>
                <p:nvPr/>
              </p:nvSpPr>
              <p:spPr bwMode="auto">
                <a:xfrm>
                  <a:off x="7574899" y="4412501"/>
                  <a:ext cx="182410" cy="24267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210" name="Freeform 2081">
                  <a:extLst>
                    <a:ext uri="{FF2B5EF4-FFF2-40B4-BE49-F238E27FC236}">
                      <a16:creationId xmlns:a16="http://schemas.microsoft.com/office/drawing/2014/main" id="{AF79D338-F5DC-47DC-8BA2-44DD952BD41F}"/>
                    </a:ext>
                  </a:extLst>
                </p:cNvPr>
                <p:cNvSpPr>
                  <a:spLocks/>
                </p:cNvSpPr>
                <p:nvPr/>
              </p:nvSpPr>
              <p:spPr bwMode="auto">
                <a:xfrm>
                  <a:off x="7666506" y="4419733"/>
                  <a:ext cx="83571" cy="83571"/>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214" name="Group 213">
                <a:extLst>
                  <a:ext uri="{FF2B5EF4-FFF2-40B4-BE49-F238E27FC236}">
                    <a16:creationId xmlns:a16="http://schemas.microsoft.com/office/drawing/2014/main" id="{1A8CEA00-3BA1-414E-BB09-EB26C2EBDDE1}"/>
                  </a:ext>
                </a:extLst>
              </p:cNvPr>
              <p:cNvGrpSpPr/>
              <p:nvPr/>
            </p:nvGrpSpPr>
            <p:grpSpPr>
              <a:xfrm>
                <a:off x="6976431" y="4931807"/>
                <a:ext cx="451692" cy="229006"/>
                <a:chOff x="6976431" y="4931807"/>
                <a:chExt cx="451692" cy="229006"/>
              </a:xfrm>
            </p:grpSpPr>
            <p:sp>
              <p:nvSpPr>
                <p:cNvPr id="211" name="Rectangle 210">
                  <a:extLst>
                    <a:ext uri="{FF2B5EF4-FFF2-40B4-BE49-F238E27FC236}">
                      <a16:creationId xmlns:a16="http://schemas.microsoft.com/office/drawing/2014/main" id="{C8D389C2-631C-42DA-9F5D-69C8DC2E2DAC}"/>
                    </a:ext>
                  </a:extLst>
                </p:cNvPr>
                <p:cNvSpPr/>
                <p:nvPr/>
              </p:nvSpPr>
              <p:spPr bwMode="auto">
                <a:xfrm>
                  <a:off x="6976431" y="4991024"/>
                  <a:ext cx="451692" cy="169789"/>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Right Triangle 211">
                  <a:extLst>
                    <a:ext uri="{FF2B5EF4-FFF2-40B4-BE49-F238E27FC236}">
                      <a16:creationId xmlns:a16="http://schemas.microsoft.com/office/drawing/2014/main" id="{F7BA5A4A-E44A-4011-9DD2-321B2F319EC5}"/>
                    </a:ext>
                  </a:extLst>
                </p:cNvPr>
                <p:cNvSpPr/>
                <p:nvPr/>
              </p:nvSpPr>
              <p:spPr bwMode="auto">
                <a:xfrm>
                  <a:off x="6980096" y="4931807"/>
                  <a:ext cx="76048" cy="76048"/>
                </a:xfrm>
                <a:prstGeom prst="rtTriangl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Right Triangle 212">
                  <a:extLst>
                    <a:ext uri="{FF2B5EF4-FFF2-40B4-BE49-F238E27FC236}">
                      <a16:creationId xmlns:a16="http://schemas.microsoft.com/office/drawing/2014/main" id="{EAF0FDC8-CD29-43F4-B35C-50864EF738B2}"/>
                    </a:ext>
                  </a:extLst>
                </p:cNvPr>
                <p:cNvSpPr/>
                <p:nvPr/>
              </p:nvSpPr>
              <p:spPr bwMode="auto">
                <a:xfrm flipH="1">
                  <a:off x="7351609" y="4931807"/>
                  <a:ext cx="76048" cy="76048"/>
                </a:xfrm>
                <a:prstGeom prst="rtTriangle">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0" name="Group 29">
              <a:extLst>
                <a:ext uri="{FF2B5EF4-FFF2-40B4-BE49-F238E27FC236}">
                  <a16:creationId xmlns:a16="http://schemas.microsoft.com/office/drawing/2014/main" id="{4AA29C50-5A3A-433B-AB56-A24525A1AB91}"/>
                </a:ext>
              </a:extLst>
            </p:cNvPr>
            <p:cNvGrpSpPr/>
            <p:nvPr/>
          </p:nvGrpSpPr>
          <p:grpSpPr>
            <a:xfrm>
              <a:off x="5585881" y="3143082"/>
              <a:ext cx="269102" cy="349443"/>
              <a:chOff x="6955829" y="2716021"/>
              <a:chExt cx="269102" cy="349443"/>
            </a:xfrm>
          </p:grpSpPr>
          <p:sp>
            <p:nvSpPr>
              <p:cNvPr id="29" name="Oval 28">
                <a:extLst>
                  <a:ext uri="{FF2B5EF4-FFF2-40B4-BE49-F238E27FC236}">
                    <a16:creationId xmlns:a16="http://schemas.microsoft.com/office/drawing/2014/main" id="{2249744E-4D7A-4EFB-86FE-D6CCF0E743D9}"/>
                  </a:ext>
                </a:extLst>
              </p:cNvPr>
              <p:cNvSpPr/>
              <p:nvPr/>
            </p:nvSpPr>
            <p:spPr bwMode="auto">
              <a:xfrm>
                <a:off x="6955829" y="2716021"/>
                <a:ext cx="269102" cy="349443"/>
              </a:xfrm>
              <a:prstGeom prst="ellipse">
                <a:avLst/>
              </a:prstGeom>
              <a:solidFill>
                <a:srgbClr val="F8F8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C92CA8FB-51F9-4727-BCC5-165302FA5193}"/>
                  </a:ext>
                </a:extLst>
              </p:cNvPr>
              <p:cNvGrpSpPr/>
              <p:nvPr/>
            </p:nvGrpSpPr>
            <p:grpSpPr>
              <a:xfrm>
                <a:off x="6976214" y="2730230"/>
                <a:ext cx="222002" cy="291583"/>
                <a:chOff x="4820503" y="5213967"/>
                <a:chExt cx="329422" cy="432671"/>
              </a:xfrm>
            </p:grpSpPr>
            <p:sp>
              <p:nvSpPr>
                <p:cNvPr id="186" name="Freeform 2106">
                  <a:extLst>
                    <a:ext uri="{FF2B5EF4-FFF2-40B4-BE49-F238E27FC236}">
                      <a16:creationId xmlns:a16="http://schemas.microsoft.com/office/drawing/2014/main" id="{1E057907-E15A-4986-B624-06B697527E2B}"/>
                    </a:ext>
                  </a:extLst>
                </p:cNvPr>
                <p:cNvSpPr>
                  <a:spLocks noEditPoints="1"/>
                </p:cNvSpPr>
                <p:nvPr/>
              </p:nvSpPr>
              <p:spPr bwMode="auto">
                <a:xfrm>
                  <a:off x="4820503" y="5399163"/>
                  <a:ext cx="329422" cy="247475"/>
                </a:xfrm>
                <a:custGeom>
                  <a:avLst/>
                  <a:gdLst>
                    <a:gd name="T0" fmla="*/ 201 w 201"/>
                    <a:gd name="T1" fmla="*/ 151 h 151"/>
                    <a:gd name="T2" fmla="*/ 0 w 201"/>
                    <a:gd name="T3" fmla="*/ 151 h 151"/>
                    <a:gd name="T4" fmla="*/ 0 w 201"/>
                    <a:gd name="T5" fmla="*/ 0 h 151"/>
                    <a:gd name="T6" fmla="*/ 201 w 201"/>
                    <a:gd name="T7" fmla="*/ 0 h 151"/>
                    <a:gd name="T8" fmla="*/ 201 w 201"/>
                    <a:gd name="T9" fmla="*/ 151 h 151"/>
                    <a:gd name="T10" fmla="*/ 19 w 201"/>
                    <a:gd name="T11" fmla="*/ 133 h 151"/>
                    <a:gd name="T12" fmla="*/ 182 w 201"/>
                    <a:gd name="T13" fmla="*/ 133 h 151"/>
                    <a:gd name="T14" fmla="*/ 182 w 201"/>
                    <a:gd name="T15" fmla="*/ 19 h 151"/>
                    <a:gd name="T16" fmla="*/ 19 w 201"/>
                    <a:gd name="T17" fmla="*/ 19 h 151"/>
                    <a:gd name="T18" fmla="*/ 19 w 201"/>
                    <a:gd name="T1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51">
                      <a:moveTo>
                        <a:pt x="201" y="151"/>
                      </a:moveTo>
                      <a:lnTo>
                        <a:pt x="0" y="151"/>
                      </a:lnTo>
                      <a:lnTo>
                        <a:pt x="0" y="0"/>
                      </a:lnTo>
                      <a:lnTo>
                        <a:pt x="201" y="0"/>
                      </a:lnTo>
                      <a:lnTo>
                        <a:pt x="201" y="151"/>
                      </a:lnTo>
                      <a:close/>
                      <a:moveTo>
                        <a:pt x="19" y="133"/>
                      </a:moveTo>
                      <a:lnTo>
                        <a:pt x="182" y="133"/>
                      </a:lnTo>
                      <a:lnTo>
                        <a:pt x="182" y="19"/>
                      </a:lnTo>
                      <a:lnTo>
                        <a:pt x="19" y="19"/>
                      </a:lnTo>
                      <a:lnTo>
                        <a:pt x="19" y="133"/>
                      </a:lnTo>
                      <a:close/>
                    </a:path>
                  </a:pathLst>
                </a:custGeom>
                <a:solidFill>
                  <a:schemeClr val="tx2"/>
                </a:solidFill>
                <a:ln w="9525">
                  <a:solidFill>
                    <a:schemeClr val="tx2"/>
                  </a:solid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187" name="Freeform 2107">
                  <a:extLst>
                    <a:ext uri="{FF2B5EF4-FFF2-40B4-BE49-F238E27FC236}">
                      <a16:creationId xmlns:a16="http://schemas.microsoft.com/office/drawing/2014/main" id="{A11AE4E4-9796-4105-A597-BC0BADC34DD4}"/>
                    </a:ext>
                  </a:extLst>
                </p:cNvPr>
                <p:cNvSpPr>
                  <a:spLocks/>
                </p:cNvSpPr>
                <p:nvPr/>
              </p:nvSpPr>
              <p:spPr bwMode="auto">
                <a:xfrm>
                  <a:off x="4874586" y="5213967"/>
                  <a:ext cx="221253" cy="190113"/>
                </a:xfrm>
                <a:custGeom>
                  <a:avLst/>
                  <a:gdLst>
                    <a:gd name="T0" fmla="*/ 57 w 57"/>
                    <a:gd name="T1" fmla="*/ 49 h 49"/>
                    <a:gd name="T2" fmla="*/ 49 w 57"/>
                    <a:gd name="T3" fmla="*/ 49 h 49"/>
                    <a:gd name="T4" fmla="*/ 49 w 57"/>
                    <a:gd name="T5" fmla="*/ 29 h 49"/>
                    <a:gd name="T6" fmla="*/ 28 w 57"/>
                    <a:gd name="T7" fmla="*/ 8 h 49"/>
                    <a:gd name="T8" fmla="*/ 8 w 57"/>
                    <a:gd name="T9" fmla="*/ 29 h 49"/>
                    <a:gd name="T10" fmla="*/ 8 w 57"/>
                    <a:gd name="T11" fmla="*/ 49 h 49"/>
                    <a:gd name="T12" fmla="*/ 0 w 57"/>
                    <a:gd name="T13" fmla="*/ 49 h 49"/>
                    <a:gd name="T14" fmla="*/ 0 w 57"/>
                    <a:gd name="T15" fmla="*/ 29 h 49"/>
                    <a:gd name="T16" fmla="*/ 28 w 57"/>
                    <a:gd name="T17" fmla="*/ 0 h 49"/>
                    <a:gd name="T18" fmla="*/ 57 w 57"/>
                    <a:gd name="T19" fmla="*/ 29 h 49"/>
                    <a:gd name="T20" fmla="*/ 57 w 57"/>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49">
                      <a:moveTo>
                        <a:pt x="57" y="49"/>
                      </a:moveTo>
                      <a:cubicBezTo>
                        <a:pt x="49" y="49"/>
                        <a:pt x="49" y="49"/>
                        <a:pt x="49" y="49"/>
                      </a:cubicBezTo>
                      <a:cubicBezTo>
                        <a:pt x="49" y="29"/>
                        <a:pt x="49" y="29"/>
                        <a:pt x="49" y="29"/>
                      </a:cubicBezTo>
                      <a:cubicBezTo>
                        <a:pt x="49" y="17"/>
                        <a:pt x="40" y="8"/>
                        <a:pt x="28" y="8"/>
                      </a:cubicBezTo>
                      <a:cubicBezTo>
                        <a:pt x="17" y="8"/>
                        <a:pt x="8" y="17"/>
                        <a:pt x="8" y="29"/>
                      </a:cubicBezTo>
                      <a:cubicBezTo>
                        <a:pt x="8" y="49"/>
                        <a:pt x="8" y="49"/>
                        <a:pt x="8" y="49"/>
                      </a:cubicBezTo>
                      <a:cubicBezTo>
                        <a:pt x="0" y="49"/>
                        <a:pt x="0" y="49"/>
                        <a:pt x="0" y="49"/>
                      </a:cubicBezTo>
                      <a:cubicBezTo>
                        <a:pt x="0" y="29"/>
                        <a:pt x="0" y="29"/>
                        <a:pt x="0" y="29"/>
                      </a:cubicBezTo>
                      <a:cubicBezTo>
                        <a:pt x="0" y="12"/>
                        <a:pt x="13" y="0"/>
                        <a:pt x="28" y="0"/>
                      </a:cubicBezTo>
                      <a:cubicBezTo>
                        <a:pt x="44" y="0"/>
                        <a:pt x="57" y="12"/>
                        <a:pt x="57" y="29"/>
                      </a:cubicBezTo>
                      <a:lnTo>
                        <a:pt x="57" y="49"/>
                      </a:lnTo>
                      <a:close/>
                    </a:path>
                  </a:pathLst>
                </a:custGeom>
                <a:solidFill>
                  <a:schemeClr val="tx2"/>
                </a:solidFill>
                <a:ln>
                  <a:solidFill>
                    <a:schemeClr val="tx2"/>
                  </a:solid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grpSp>
        <p:nvGrpSpPr>
          <p:cNvPr id="233" name="Group 232">
            <a:extLst>
              <a:ext uri="{FF2B5EF4-FFF2-40B4-BE49-F238E27FC236}">
                <a16:creationId xmlns:a16="http://schemas.microsoft.com/office/drawing/2014/main" id="{1F9244F7-7FB4-4580-A7B4-A09BD3CFC9AD}"/>
              </a:ext>
            </a:extLst>
          </p:cNvPr>
          <p:cNvGrpSpPr/>
          <p:nvPr/>
        </p:nvGrpSpPr>
        <p:grpSpPr>
          <a:xfrm>
            <a:off x="6877330" y="2342483"/>
            <a:ext cx="471491" cy="549618"/>
            <a:chOff x="6886994" y="2772389"/>
            <a:chExt cx="617773" cy="720136"/>
          </a:xfrm>
        </p:grpSpPr>
        <p:grpSp>
          <p:nvGrpSpPr>
            <p:cNvPr id="232" name="Group 231">
              <a:extLst>
                <a:ext uri="{FF2B5EF4-FFF2-40B4-BE49-F238E27FC236}">
                  <a16:creationId xmlns:a16="http://schemas.microsoft.com/office/drawing/2014/main" id="{78802ECB-02CB-4F88-A1F6-A26FEE9640BA}"/>
                </a:ext>
              </a:extLst>
            </p:cNvPr>
            <p:cNvGrpSpPr/>
            <p:nvPr/>
          </p:nvGrpSpPr>
          <p:grpSpPr>
            <a:xfrm>
              <a:off x="6995261" y="2772389"/>
              <a:ext cx="509506" cy="645924"/>
              <a:chOff x="6995261" y="2772389"/>
              <a:chExt cx="509506" cy="645924"/>
            </a:xfrm>
          </p:grpSpPr>
          <p:grpSp>
            <p:nvGrpSpPr>
              <p:cNvPr id="219" name="Group 218">
                <a:extLst>
                  <a:ext uri="{FF2B5EF4-FFF2-40B4-BE49-F238E27FC236}">
                    <a16:creationId xmlns:a16="http://schemas.microsoft.com/office/drawing/2014/main" id="{6E297E28-7C1A-4C31-A0CF-C1EE5CB5CCB1}"/>
                  </a:ext>
                </a:extLst>
              </p:cNvPr>
              <p:cNvGrpSpPr/>
              <p:nvPr/>
            </p:nvGrpSpPr>
            <p:grpSpPr>
              <a:xfrm>
                <a:off x="7103008" y="2772389"/>
                <a:ext cx="401759" cy="534498"/>
                <a:chOff x="7574899" y="4412501"/>
                <a:chExt cx="182410" cy="242678"/>
              </a:xfrm>
              <a:solidFill>
                <a:schemeClr val="tx2"/>
              </a:solidFill>
            </p:grpSpPr>
            <p:sp>
              <p:nvSpPr>
                <p:cNvPr id="220" name="Freeform 2080">
                  <a:extLst>
                    <a:ext uri="{FF2B5EF4-FFF2-40B4-BE49-F238E27FC236}">
                      <a16:creationId xmlns:a16="http://schemas.microsoft.com/office/drawing/2014/main" id="{34C0A95C-88CF-4615-8A18-566C5205B8E5}"/>
                    </a:ext>
                  </a:extLst>
                </p:cNvPr>
                <p:cNvSpPr>
                  <a:spLocks noEditPoints="1"/>
                </p:cNvSpPr>
                <p:nvPr/>
              </p:nvSpPr>
              <p:spPr bwMode="auto">
                <a:xfrm>
                  <a:off x="7574899" y="4412501"/>
                  <a:ext cx="182410" cy="24267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221" name="Freeform 2081">
                  <a:extLst>
                    <a:ext uri="{FF2B5EF4-FFF2-40B4-BE49-F238E27FC236}">
                      <a16:creationId xmlns:a16="http://schemas.microsoft.com/office/drawing/2014/main" id="{7B6AB203-1895-46AC-BD48-E3A92125FF2C}"/>
                    </a:ext>
                  </a:extLst>
                </p:cNvPr>
                <p:cNvSpPr>
                  <a:spLocks/>
                </p:cNvSpPr>
                <p:nvPr/>
              </p:nvSpPr>
              <p:spPr bwMode="auto">
                <a:xfrm>
                  <a:off x="7666506" y="4419733"/>
                  <a:ext cx="83571" cy="83571"/>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nvGrpSpPr>
              <p:cNvPr id="226" name="Group 225">
                <a:extLst>
                  <a:ext uri="{FF2B5EF4-FFF2-40B4-BE49-F238E27FC236}">
                    <a16:creationId xmlns:a16="http://schemas.microsoft.com/office/drawing/2014/main" id="{018FF2C4-5942-4572-AB33-123E068F3A7C}"/>
                  </a:ext>
                </a:extLst>
              </p:cNvPr>
              <p:cNvGrpSpPr/>
              <p:nvPr/>
            </p:nvGrpSpPr>
            <p:grpSpPr>
              <a:xfrm>
                <a:off x="6995261" y="2883815"/>
                <a:ext cx="401759" cy="534498"/>
                <a:chOff x="6995261" y="2883815"/>
                <a:chExt cx="401759" cy="534498"/>
              </a:xfrm>
            </p:grpSpPr>
            <p:sp>
              <p:nvSpPr>
                <p:cNvPr id="225" name="Rectangle: Top Corners One Rounded and One Snipped 224">
                  <a:extLst>
                    <a:ext uri="{FF2B5EF4-FFF2-40B4-BE49-F238E27FC236}">
                      <a16:creationId xmlns:a16="http://schemas.microsoft.com/office/drawing/2014/main" id="{70F37AF8-FB19-4356-B851-9BCADABEF9D4}"/>
                    </a:ext>
                  </a:extLst>
                </p:cNvPr>
                <p:cNvSpPr/>
                <p:nvPr/>
              </p:nvSpPr>
              <p:spPr bwMode="auto">
                <a:xfrm>
                  <a:off x="7018120" y="2906966"/>
                  <a:ext cx="343638" cy="483816"/>
                </a:xfrm>
                <a:prstGeom prst="snipRoundRect">
                  <a:avLst>
                    <a:gd name="adj1" fmla="val 0"/>
                    <a:gd name="adj2" fmla="val 34715"/>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2" name="Group 221">
                  <a:extLst>
                    <a:ext uri="{FF2B5EF4-FFF2-40B4-BE49-F238E27FC236}">
                      <a16:creationId xmlns:a16="http://schemas.microsoft.com/office/drawing/2014/main" id="{D6D41C93-668B-4EDE-8EDD-0BE31201D1D6}"/>
                    </a:ext>
                  </a:extLst>
                </p:cNvPr>
                <p:cNvGrpSpPr/>
                <p:nvPr/>
              </p:nvGrpSpPr>
              <p:grpSpPr>
                <a:xfrm>
                  <a:off x="6995261" y="2883815"/>
                  <a:ext cx="401759" cy="534498"/>
                  <a:chOff x="7574899" y="4412501"/>
                  <a:chExt cx="182410" cy="242678"/>
                </a:xfrm>
                <a:solidFill>
                  <a:schemeClr val="tx2"/>
                </a:solidFill>
              </p:grpSpPr>
              <p:sp>
                <p:nvSpPr>
                  <p:cNvPr id="223" name="Freeform 2080">
                    <a:extLst>
                      <a:ext uri="{FF2B5EF4-FFF2-40B4-BE49-F238E27FC236}">
                        <a16:creationId xmlns:a16="http://schemas.microsoft.com/office/drawing/2014/main" id="{EE3EDB4C-9AAE-4B10-B3A2-F04A2C69F17C}"/>
                      </a:ext>
                    </a:extLst>
                  </p:cNvPr>
                  <p:cNvSpPr>
                    <a:spLocks noEditPoints="1"/>
                  </p:cNvSpPr>
                  <p:nvPr/>
                </p:nvSpPr>
                <p:spPr bwMode="auto">
                  <a:xfrm>
                    <a:off x="7574899" y="4412501"/>
                    <a:ext cx="182410" cy="242678"/>
                  </a:xfrm>
                  <a:custGeom>
                    <a:avLst/>
                    <a:gdLst>
                      <a:gd name="T0" fmla="*/ 227 w 227"/>
                      <a:gd name="T1" fmla="*/ 302 h 302"/>
                      <a:gd name="T2" fmla="*/ 0 w 227"/>
                      <a:gd name="T3" fmla="*/ 302 h 302"/>
                      <a:gd name="T4" fmla="*/ 0 w 227"/>
                      <a:gd name="T5" fmla="*/ 0 h 302"/>
                      <a:gd name="T6" fmla="*/ 128 w 227"/>
                      <a:gd name="T7" fmla="*/ 0 h 302"/>
                      <a:gd name="T8" fmla="*/ 227 w 227"/>
                      <a:gd name="T9" fmla="*/ 99 h 302"/>
                      <a:gd name="T10" fmla="*/ 227 w 227"/>
                      <a:gd name="T11" fmla="*/ 302 h 302"/>
                      <a:gd name="T12" fmla="*/ 19 w 227"/>
                      <a:gd name="T13" fmla="*/ 284 h 302"/>
                      <a:gd name="T14" fmla="*/ 208 w 227"/>
                      <a:gd name="T15" fmla="*/ 284 h 302"/>
                      <a:gd name="T16" fmla="*/ 208 w 227"/>
                      <a:gd name="T17" fmla="*/ 106 h 302"/>
                      <a:gd name="T18" fmla="*/ 121 w 227"/>
                      <a:gd name="T19" fmla="*/ 19 h 302"/>
                      <a:gd name="T20" fmla="*/ 19 w 227"/>
                      <a:gd name="T21" fmla="*/ 19 h 302"/>
                      <a:gd name="T22" fmla="*/ 19 w 227"/>
                      <a:gd name="T23"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2">
                        <a:moveTo>
                          <a:pt x="227" y="302"/>
                        </a:moveTo>
                        <a:lnTo>
                          <a:pt x="0" y="302"/>
                        </a:lnTo>
                        <a:lnTo>
                          <a:pt x="0" y="0"/>
                        </a:lnTo>
                        <a:lnTo>
                          <a:pt x="128" y="0"/>
                        </a:lnTo>
                        <a:lnTo>
                          <a:pt x="227" y="99"/>
                        </a:lnTo>
                        <a:lnTo>
                          <a:pt x="227" y="302"/>
                        </a:lnTo>
                        <a:close/>
                        <a:moveTo>
                          <a:pt x="19" y="284"/>
                        </a:moveTo>
                        <a:lnTo>
                          <a:pt x="208" y="284"/>
                        </a:lnTo>
                        <a:lnTo>
                          <a:pt x="208" y="106"/>
                        </a:lnTo>
                        <a:lnTo>
                          <a:pt x="121" y="19"/>
                        </a:lnTo>
                        <a:lnTo>
                          <a:pt x="19" y="19"/>
                        </a:lnTo>
                        <a:lnTo>
                          <a:pt x="19" y="28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224" name="Freeform 2081">
                    <a:extLst>
                      <a:ext uri="{FF2B5EF4-FFF2-40B4-BE49-F238E27FC236}">
                        <a16:creationId xmlns:a16="http://schemas.microsoft.com/office/drawing/2014/main" id="{DE6A589D-F132-4A4C-8860-0BC8FCD7F703}"/>
                      </a:ext>
                    </a:extLst>
                  </p:cNvPr>
                  <p:cNvSpPr>
                    <a:spLocks/>
                  </p:cNvSpPr>
                  <p:nvPr/>
                </p:nvSpPr>
                <p:spPr bwMode="auto">
                  <a:xfrm>
                    <a:off x="7666506" y="4419733"/>
                    <a:ext cx="83571" cy="83571"/>
                  </a:xfrm>
                  <a:custGeom>
                    <a:avLst/>
                    <a:gdLst>
                      <a:gd name="T0" fmla="*/ 104 w 104"/>
                      <a:gd name="T1" fmla="*/ 104 h 104"/>
                      <a:gd name="T2" fmla="*/ 0 w 104"/>
                      <a:gd name="T3" fmla="*/ 104 h 104"/>
                      <a:gd name="T4" fmla="*/ 0 w 104"/>
                      <a:gd name="T5" fmla="*/ 0 h 104"/>
                      <a:gd name="T6" fmla="*/ 18 w 104"/>
                      <a:gd name="T7" fmla="*/ 0 h 104"/>
                      <a:gd name="T8" fmla="*/ 18 w 104"/>
                      <a:gd name="T9" fmla="*/ 85 h 104"/>
                      <a:gd name="T10" fmla="*/ 104 w 104"/>
                      <a:gd name="T11" fmla="*/ 85 h 104"/>
                      <a:gd name="T12" fmla="*/ 104 w 10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04" h="104">
                        <a:moveTo>
                          <a:pt x="104" y="104"/>
                        </a:moveTo>
                        <a:lnTo>
                          <a:pt x="0" y="104"/>
                        </a:lnTo>
                        <a:lnTo>
                          <a:pt x="0" y="0"/>
                        </a:lnTo>
                        <a:lnTo>
                          <a:pt x="18" y="0"/>
                        </a:lnTo>
                        <a:lnTo>
                          <a:pt x="18" y="85"/>
                        </a:lnTo>
                        <a:lnTo>
                          <a:pt x="104" y="85"/>
                        </a:lnTo>
                        <a:lnTo>
                          <a:pt x="104" y="104"/>
                        </a:lnTo>
                        <a:close/>
                      </a:path>
                    </a:pathLst>
                  </a:custGeom>
                  <a:grpFill/>
                  <a:ln>
                    <a:no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grpSp>
          <p:nvGrpSpPr>
            <p:cNvPr id="227" name="Group 226">
              <a:extLst>
                <a:ext uri="{FF2B5EF4-FFF2-40B4-BE49-F238E27FC236}">
                  <a16:creationId xmlns:a16="http://schemas.microsoft.com/office/drawing/2014/main" id="{18A9ADDF-4103-4D8C-AD34-2E3A86C3B75D}"/>
                </a:ext>
              </a:extLst>
            </p:cNvPr>
            <p:cNvGrpSpPr/>
            <p:nvPr/>
          </p:nvGrpSpPr>
          <p:grpSpPr>
            <a:xfrm>
              <a:off x="6886994" y="3143082"/>
              <a:ext cx="269102" cy="349443"/>
              <a:chOff x="6955829" y="2716021"/>
              <a:chExt cx="269102" cy="349443"/>
            </a:xfrm>
          </p:grpSpPr>
          <p:sp>
            <p:nvSpPr>
              <p:cNvPr id="228" name="Oval 227">
                <a:extLst>
                  <a:ext uri="{FF2B5EF4-FFF2-40B4-BE49-F238E27FC236}">
                    <a16:creationId xmlns:a16="http://schemas.microsoft.com/office/drawing/2014/main" id="{C9390331-3FC2-41F2-9ED4-DA8A46F8D00B}"/>
                  </a:ext>
                </a:extLst>
              </p:cNvPr>
              <p:cNvSpPr/>
              <p:nvPr/>
            </p:nvSpPr>
            <p:spPr bwMode="auto">
              <a:xfrm>
                <a:off x="6955829" y="2716021"/>
                <a:ext cx="269102" cy="349443"/>
              </a:xfrm>
              <a:prstGeom prst="ellipse">
                <a:avLst/>
              </a:prstGeom>
              <a:solidFill>
                <a:srgbClr val="F8F8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5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9" name="Group 228">
                <a:extLst>
                  <a:ext uri="{FF2B5EF4-FFF2-40B4-BE49-F238E27FC236}">
                    <a16:creationId xmlns:a16="http://schemas.microsoft.com/office/drawing/2014/main" id="{FFE422E1-60BB-42DB-AAD8-5E50240AC03D}"/>
                  </a:ext>
                </a:extLst>
              </p:cNvPr>
              <p:cNvGrpSpPr/>
              <p:nvPr/>
            </p:nvGrpSpPr>
            <p:grpSpPr>
              <a:xfrm>
                <a:off x="6976214" y="2730230"/>
                <a:ext cx="222002" cy="291583"/>
                <a:chOff x="4820503" y="5213967"/>
                <a:chExt cx="329422" cy="432671"/>
              </a:xfrm>
            </p:grpSpPr>
            <p:sp>
              <p:nvSpPr>
                <p:cNvPr id="230" name="Freeform 2106">
                  <a:extLst>
                    <a:ext uri="{FF2B5EF4-FFF2-40B4-BE49-F238E27FC236}">
                      <a16:creationId xmlns:a16="http://schemas.microsoft.com/office/drawing/2014/main" id="{FBDD2087-A988-46D8-B109-21F4ACB2765E}"/>
                    </a:ext>
                  </a:extLst>
                </p:cNvPr>
                <p:cNvSpPr>
                  <a:spLocks noEditPoints="1"/>
                </p:cNvSpPr>
                <p:nvPr/>
              </p:nvSpPr>
              <p:spPr bwMode="auto">
                <a:xfrm>
                  <a:off x="4820503" y="5399163"/>
                  <a:ext cx="329422" cy="247475"/>
                </a:xfrm>
                <a:custGeom>
                  <a:avLst/>
                  <a:gdLst>
                    <a:gd name="T0" fmla="*/ 201 w 201"/>
                    <a:gd name="T1" fmla="*/ 151 h 151"/>
                    <a:gd name="T2" fmla="*/ 0 w 201"/>
                    <a:gd name="T3" fmla="*/ 151 h 151"/>
                    <a:gd name="T4" fmla="*/ 0 w 201"/>
                    <a:gd name="T5" fmla="*/ 0 h 151"/>
                    <a:gd name="T6" fmla="*/ 201 w 201"/>
                    <a:gd name="T7" fmla="*/ 0 h 151"/>
                    <a:gd name="T8" fmla="*/ 201 w 201"/>
                    <a:gd name="T9" fmla="*/ 151 h 151"/>
                    <a:gd name="T10" fmla="*/ 19 w 201"/>
                    <a:gd name="T11" fmla="*/ 133 h 151"/>
                    <a:gd name="T12" fmla="*/ 182 w 201"/>
                    <a:gd name="T13" fmla="*/ 133 h 151"/>
                    <a:gd name="T14" fmla="*/ 182 w 201"/>
                    <a:gd name="T15" fmla="*/ 19 h 151"/>
                    <a:gd name="T16" fmla="*/ 19 w 201"/>
                    <a:gd name="T17" fmla="*/ 19 h 151"/>
                    <a:gd name="T18" fmla="*/ 19 w 201"/>
                    <a:gd name="T1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51">
                      <a:moveTo>
                        <a:pt x="201" y="151"/>
                      </a:moveTo>
                      <a:lnTo>
                        <a:pt x="0" y="151"/>
                      </a:lnTo>
                      <a:lnTo>
                        <a:pt x="0" y="0"/>
                      </a:lnTo>
                      <a:lnTo>
                        <a:pt x="201" y="0"/>
                      </a:lnTo>
                      <a:lnTo>
                        <a:pt x="201" y="151"/>
                      </a:lnTo>
                      <a:close/>
                      <a:moveTo>
                        <a:pt x="19" y="133"/>
                      </a:moveTo>
                      <a:lnTo>
                        <a:pt x="182" y="133"/>
                      </a:lnTo>
                      <a:lnTo>
                        <a:pt x="182" y="19"/>
                      </a:lnTo>
                      <a:lnTo>
                        <a:pt x="19" y="19"/>
                      </a:lnTo>
                      <a:lnTo>
                        <a:pt x="19" y="133"/>
                      </a:lnTo>
                      <a:close/>
                    </a:path>
                  </a:pathLst>
                </a:custGeom>
                <a:solidFill>
                  <a:schemeClr val="tx2"/>
                </a:solidFill>
                <a:ln w="9525">
                  <a:solidFill>
                    <a:schemeClr val="tx2"/>
                  </a:solid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sp>
              <p:nvSpPr>
                <p:cNvPr id="231" name="Freeform 2107">
                  <a:extLst>
                    <a:ext uri="{FF2B5EF4-FFF2-40B4-BE49-F238E27FC236}">
                      <a16:creationId xmlns:a16="http://schemas.microsoft.com/office/drawing/2014/main" id="{BFAC4248-3520-412C-A71E-B4DF898735D8}"/>
                    </a:ext>
                  </a:extLst>
                </p:cNvPr>
                <p:cNvSpPr>
                  <a:spLocks/>
                </p:cNvSpPr>
                <p:nvPr/>
              </p:nvSpPr>
              <p:spPr bwMode="auto">
                <a:xfrm>
                  <a:off x="4874586" y="5213967"/>
                  <a:ext cx="221253" cy="190113"/>
                </a:xfrm>
                <a:custGeom>
                  <a:avLst/>
                  <a:gdLst>
                    <a:gd name="T0" fmla="*/ 57 w 57"/>
                    <a:gd name="T1" fmla="*/ 49 h 49"/>
                    <a:gd name="T2" fmla="*/ 49 w 57"/>
                    <a:gd name="T3" fmla="*/ 49 h 49"/>
                    <a:gd name="T4" fmla="*/ 49 w 57"/>
                    <a:gd name="T5" fmla="*/ 29 h 49"/>
                    <a:gd name="T6" fmla="*/ 28 w 57"/>
                    <a:gd name="T7" fmla="*/ 8 h 49"/>
                    <a:gd name="T8" fmla="*/ 8 w 57"/>
                    <a:gd name="T9" fmla="*/ 29 h 49"/>
                    <a:gd name="T10" fmla="*/ 8 w 57"/>
                    <a:gd name="T11" fmla="*/ 49 h 49"/>
                    <a:gd name="T12" fmla="*/ 0 w 57"/>
                    <a:gd name="T13" fmla="*/ 49 h 49"/>
                    <a:gd name="T14" fmla="*/ 0 w 57"/>
                    <a:gd name="T15" fmla="*/ 29 h 49"/>
                    <a:gd name="T16" fmla="*/ 28 w 57"/>
                    <a:gd name="T17" fmla="*/ 0 h 49"/>
                    <a:gd name="T18" fmla="*/ 57 w 57"/>
                    <a:gd name="T19" fmla="*/ 29 h 49"/>
                    <a:gd name="T20" fmla="*/ 57 w 57"/>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49">
                      <a:moveTo>
                        <a:pt x="57" y="49"/>
                      </a:moveTo>
                      <a:cubicBezTo>
                        <a:pt x="49" y="49"/>
                        <a:pt x="49" y="49"/>
                        <a:pt x="49" y="49"/>
                      </a:cubicBezTo>
                      <a:cubicBezTo>
                        <a:pt x="49" y="29"/>
                        <a:pt x="49" y="29"/>
                        <a:pt x="49" y="29"/>
                      </a:cubicBezTo>
                      <a:cubicBezTo>
                        <a:pt x="49" y="17"/>
                        <a:pt x="40" y="8"/>
                        <a:pt x="28" y="8"/>
                      </a:cubicBezTo>
                      <a:cubicBezTo>
                        <a:pt x="17" y="8"/>
                        <a:pt x="8" y="17"/>
                        <a:pt x="8" y="29"/>
                      </a:cubicBezTo>
                      <a:cubicBezTo>
                        <a:pt x="8" y="49"/>
                        <a:pt x="8" y="49"/>
                        <a:pt x="8" y="49"/>
                      </a:cubicBezTo>
                      <a:cubicBezTo>
                        <a:pt x="0" y="49"/>
                        <a:pt x="0" y="49"/>
                        <a:pt x="0" y="49"/>
                      </a:cubicBezTo>
                      <a:cubicBezTo>
                        <a:pt x="0" y="29"/>
                        <a:pt x="0" y="29"/>
                        <a:pt x="0" y="29"/>
                      </a:cubicBezTo>
                      <a:cubicBezTo>
                        <a:pt x="0" y="12"/>
                        <a:pt x="13" y="0"/>
                        <a:pt x="28" y="0"/>
                      </a:cubicBezTo>
                      <a:cubicBezTo>
                        <a:pt x="44" y="0"/>
                        <a:pt x="57" y="12"/>
                        <a:pt x="57" y="29"/>
                      </a:cubicBezTo>
                      <a:lnTo>
                        <a:pt x="57" y="49"/>
                      </a:lnTo>
                      <a:close/>
                    </a:path>
                  </a:pathLst>
                </a:custGeom>
                <a:solidFill>
                  <a:schemeClr val="tx2"/>
                </a:solidFill>
                <a:ln>
                  <a:solidFill>
                    <a:schemeClr val="tx2"/>
                  </a:solidFill>
                </a:ln>
              </p:spPr>
              <p:txBody>
                <a:bodyPr vert="horz" wrap="square" lIns="89606" tIns="44804" rIns="89606" bIns="44804" numCol="1" anchor="t" anchorCtr="0" compatLnSpc="1">
                  <a:prstTxWarp prst="textNoShape">
                    <a:avLst/>
                  </a:prstTxWarp>
                </a:bodyPr>
                <a:lstStyle/>
                <a:p>
                  <a:pPr defTabSz="896145">
                    <a:defRPr/>
                  </a:pPr>
                  <a:endParaRPr lang="en-US" sz="1765">
                    <a:solidFill>
                      <a:srgbClr val="505050"/>
                    </a:solidFill>
                    <a:latin typeface="Segoe UI"/>
                  </a:endParaRPr>
                </a:p>
              </p:txBody>
            </p:sp>
          </p:grpSp>
        </p:grpSp>
      </p:grpSp>
      <p:sp>
        <p:nvSpPr>
          <p:cNvPr id="17" name="Title 16">
            <a:extLst>
              <a:ext uri="{FF2B5EF4-FFF2-40B4-BE49-F238E27FC236}">
                <a16:creationId xmlns:a16="http://schemas.microsoft.com/office/drawing/2014/main" id="{401890F7-6395-4BA8-8EEF-077774980DDF}"/>
              </a:ext>
            </a:extLst>
          </p:cNvPr>
          <p:cNvSpPr>
            <a:spLocks noGrp="1"/>
          </p:cNvSpPr>
          <p:nvPr>
            <p:ph type="title"/>
          </p:nvPr>
        </p:nvSpPr>
        <p:spPr>
          <a:xfrm>
            <a:off x="455881" y="457200"/>
            <a:ext cx="11291031" cy="914400"/>
          </a:xfrm>
        </p:spPr>
        <p:txBody>
          <a:bodyPr/>
          <a:lstStyle/>
          <a:p>
            <a:r>
              <a:rPr lang="en-US" dirty="0" err="1"/>
              <a:t>Waar</a:t>
            </a:r>
            <a:r>
              <a:rPr lang="en-US" dirty="0"/>
              <a:t> </a:t>
            </a:r>
            <a:r>
              <a:rPr lang="en-US" dirty="0" err="1"/>
              <a:t>gaan</a:t>
            </a:r>
            <a:r>
              <a:rPr lang="en-US" dirty="0"/>
              <a:t> </a:t>
            </a:r>
            <a:r>
              <a:rPr lang="en-US" dirty="0" err="1"/>
              <a:t>wij</a:t>
            </a:r>
            <a:r>
              <a:rPr lang="en-US" dirty="0"/>
              <a:t> het over </a:t>
            </a:r>
            <a:r>
              <a:rPr lang="en-US" dirty="0" err="1"/>
              <a:t>hebben</a:t>
            </a:r>
            <a:r>
              <a:rPr lang="en-US" dirty="0"/>
              <a:t>?</a:t>
            </a:r>
            <a:endParaRPr lang="nl-NL" dirty="0"/>
          </a:p>
        </p:txBody>
      </p:sp>
      <p:grpSp>
        <p:nvGrpSpPr>
          <p:cNvPr id="8" name="Groep 7">
            <a:extLst>
              <a:ext uri="{FF2B5EF4-FFF2-40B4-BE49-F238E27FC236}">
                <a16:creationId xmlns:a16="http://schemas.microsoft.com/office/drawing/2014/main" id="{9B0C6367-1A6A-4D98-AB36-9A0BA0532024}"/>
              </a:ext>
            </a:extLst>
          </p:cNvPr>
          <p:cNvGrpSpPr/>
          <p:nvPr/>
        </p:nvGrpSpPr>
        <p:grpSpPr>
          <a:xfrm>
            <a:off x="8814559" y="655540"/>
            <a:ext cx="2561853" cy="533400"/>
            <a:chOff x="2465759" y="6172200"/>
            <a:chExt cx="2561853" cy="533400"/>
          </a:xfrm>
        </p:grpSpPr>
        <p:sp>
          <p:nvSpPr>
            <p:cNvPr id="5" name="Rechthoek: afgeronde hoeken 4">
              <a:extLst>
                <a:ext uri="{FF2B5EF4-FFF2-40B4-BE49-F238E27FC236}">
                  <a16:creationId xmlns:a16="http://schemas.microsoft.com/office/drawing/2014/main" id="{2199C02C-C6EB-450E-A524-91E319F50CB3}"/>
                </a:ext>
              </a:extLst>
            </p:cNvPr>
            <p:cNvSpPr/>
            <p:nvPr/>
          </p:nvSpPr>
          <p:spPr>
            <a:xfrm>
              <a:off x="2465759" y="6172200"/>
              <a:ext cx="2561853" cy="533400"/>
            </a:xfrm>
            <a:prstGeom prst="roundRect">
              <a:avLst>
                <a:gd name="adj" fmla="val 7143"/>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81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06" name="Rectangle 131">
              <a:extLst>
                <a:ext uri="{FF2B5EF4-FFF2-40B4-BE49-F238E27FC236}">
                  <a16:creationId xmlns:a16="http://schemas.microsoft.com/office/drawing/2014/main" id="{CE27411F-5852-453D-A48C-0D368D262FF2}"/>
                </a:ext>
              </a:extLst>
            </p:cNvPr>
            <p:cNvSpPr/>
            <p:nvPr/>
          </p:nvSpPr>
          <p:spPr bwMode="auto">
            <a:xfrm>
              <a:off x="2506732" y="6229350"/>
              <a:ext cx="1215776" cy="427041"/>
            </a:xfrm>
            <a:prstGeom prst="rect">
              <a:avLst/>
            </a:prstGeom>
            <a:solidFill>
              <a:schemeClr val="tx1">
                <a:lumMod val="75000"/>
                <a:lumOff val="25000"/>
              </a:schemeClr>
            </a:solidFill>
            <a:ln w="12700" cap="flat" cmpd="sng" algn="ctr">
              <a:no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defRPr/>
              </a:pPr>
              <a:r>
                <a:rPr lang="en-US" sz="1371" kern="0" dirty="0">
                  <a:solidFill>
                    <a:schemeClr val="bg1"/>
                  </a:solidFill>
                  <a:latin typeface="Segoe UI"/>
                  <a:ea typeface="Segoe UI" pitchFamily="34" charset="0"/>
                  <a:cs typeface="Segoe UI" pitchFamily="34" charset="0"/>
                </a:rPr>
                <a:t>Jurgen</a:t>
              </a:r>
            </a:p>
          </p:txBody>
        </p:sp>
        <p:sp>
          <p:nvSpPr>
            <p:cNvPr id="113" name="Rectangle 145">
              <a:extLst>
                <a:ext uri="{FF2B5EF4-FFF2-40B4-BE49-F238E27FC236}">
                  <a16:creationId xmlns:a16="http://schemas.microsoft.com/office/drawing/2014/main" id="{2A73F2F0-35F6-4479-9AB9-6342EF0CAD65}"/>
                </a:ext>
              </a:extLst>
            </p:cNvPr>
            <p:cNvSpPr/>
            <p:nvPr/>
          </p:nvSpPr>
          <p:spPr bwMode="auto">
            <a:xfrm>
              <a:off x="3783180" y="6229350"/>
              <a:ext cx="1182471" cy="427041"/>
            </a:xfrm>
            <a:prstGeom prst="rect">
              <a:avLst/>
            </a:prstGeom>
            <a:solidFill>
              <a:srgbClr val="D83B01"/>
            </a:solid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pPr>
              <a:r>
                <a:rPr lang="en-US" sz="1371" kern="0" dirty="0">
                  <a:solidFill>
                    <a:srgbClr val="FFFFFF"/>
                  </a:solidFill>
                  <a:latin typeface="Segoe UI"/>
                  <a:ea typeface="Segoe UI" pitchFamily="34" charset="0"/>
                  <a:cs typeface="Segoe UI" pitchFamily="34" charset="0"/>
                </a:rPr>
                <a:t>Albert</a:t>
              </a:r>
            </a:p>
          </p:txBody>
        </p:sp>
      </p:grpSp>
      <p:sp>
        <p:nvSpPr>
          <p:cNvPr id="114" name="Rectangle 144">
            <a:extLst>
              <a:ext uri="{FF2B5EF4-FFF2-40B4-BE49-F238E27FC236}">
                <a16:creationId xmlns:a16="http://schemas.microsoft.com/office/drawing/2014/main" id="{48D83A41-5922-4E90-B1D6-45CFAFC55753}"/>
              </a:ext>
            </a:extLst>
          </p:cNvPr>
          <p:cNvSpPr/>
          <p:nvPr/>
        </p:nvSpPr>
        <p:spPr bwMode="auto">
          <a:xfrm>
            <a:off x="460192" y="3857612"/>
            <a:ext cx="8475587" cy="448032"/>
          </a:xfrm>
          <a:prstGeom prst="rect">
            <a:avLst/>
          </a:prstGeom>
          <a:solidFill>
            <a:schemeClr val="tx1">
              <a:lumMod val="75000"/>
              <a:lumOff val="2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91390" tIns="91390" rIns="91390" bIns="91390" numCol="1" spcCol="0" rtlCol="0" fromWordArt="0" anchor="ctr" anchorCtr="0" forceAA="0" compatLnSpc="1">
            <a:prstTxWarp prst="textNoShape">
              <a:avLst/>
            </a:prstTxWarp>
            <a:noAutofit/>
          </a:bodyPr>
          <a:lstStyle/>
          <a:p>
            <a:pPr algn="ctr" defTabSz="932042" fontAlgn="base">
              <a:lnSpc>
                <a:spcPct val="90000"/>
              </a:lnSpc>
              <a:spcBef>
                <a:spcPct val="0"/>
              </a:spcBef>
              <a:spcAft>
                <a:spcPct val="0"/>
              </a:spcAft>
              <a:defRPr/>
            </a:pPr>
            <a:r>
              <a:rPr lang="en-US" sz="1371" kern="0" dirty="0">
                <a:solidFill>
                  <a:schemeClr val="bg1"/>
                </a:solidFill>
                <a:latin typeface="Segoe UI"/>
                <a:ea typeface="Segoe UI" pitchFamily="34" charset="0"/>
                <a:cs typeface="Segoe UI" pitchFamily="34" charset="0"/>
              </a:rPr>
              <a:t>Identity &amp; Access</a:t>
            </a:r>
          </a:p>
        </p:txBody>
      </p:sp>
    </p:spTree>
    <p:extLst>
      <p:ext uri="{BB962C8B-B14F-4D97-AF65-F5344CB8AC3E}">
        <p14:creationId xmlns:p14="http://schemas.microsoft.com/office/powerpoint/2010/main" val="304357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 calcmode="lin" valueType="num">
                                      <p:cBhvr additive="base">
                                        <p:cTn id="7" dur="750" fill="hold"/>
                                        <p:tgtEl>
                                          <p:spTgt spid="111"/>
                                        </p:tgtEl>
                                        <p:attrNameLst>
                                          <p:attrName>ppt_x</p:attrName>
                                        </p:attrNameLst>
                                      </p:cBhvr>
                                      <p:tavLst>
                                        <p:tav tm="0">
                                          <p:val>
                                            <p:strVal val="#ppt_x"/>
                                          </p:val>
                                        </p:tav>
                                        <p:tav tm="100000">
                                          <p:val>
                                            <p:strVal val="#ppt_x"/>
                                          </p:val>
                                        </p:tav>
                                      </p:tavLst>
                                    </p:anim>
                                    <p:anim calcmode="lin" valueType="num">
                                      <p:cBhvr additive="base">
                                        <p:cTn id="8" dur="750" fill="hold"/>
                                        <p:tgtEl>
                                          <p:spTgt spid="111"/>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110"/>
                                        </p:tgtEl>
                                        <p:attrNameLst>
                                          <p:attrName>style.visibility</p:attrName>
                                        </p:attrNameLst>
                                      </p:cBhvr>
                                      <p:to>
                                        <p:strVal val="visible"/>
                                      </p:to>
                                    </p:set>
                                    <p:anim calcmode="lin" valueType="num">
                                      <p:cBhvr additive="base">
                                        <p:cTn id="11" dur="750" fill="hold"/>
                                        <p:tgtEl>
                                          <p:spTgt spid="110"/>
                                        </p:tgtEl>
                                        <p:attrNameLst>
                                          <p:attrName>ppt_x</p:attrName>
                                        </p:attrNameLst>
                                      </p:cBhvr>
                                      <p:tavLst>
                                        <p:tav tm="0">
                                          <p:val>
                                            <p:strVal val="#ppt_x"/>
                                          </p:val>
                                        </p:tav>
                                        <p:tav tm="100000">
                                          <p:val>
                                            <p:strVal val="#ppt_x"/>
                                          </p:val>
                                        </p:tav>
                                      </p:tavLst>
                                    </p:anim>
                                    <p:anim calcmode="lin" valueType="num">
                                      <p:cBhvr additive="base">
                                        <p:cTn id="12" dur="750" fill="hold"/>
                                        <p:tgtEl>
                                          <p:spTgt spid="1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146"/>
                                        </p:tgtEl>
                                        <p:attrNameLst>
                                          <p:attrName>style.visibility</p:attrName>
                                        </p:attrNameLst>
                                      </p:cBhvr>
                                      <p:to>
                                        <p:strVal val="visible"/>
                                      </p:to>
                                    </p:set>
                                    <p:anim calcmode="lin" valueType="num">
                                      <p:cBhvr additive="base">
                                        <p:cTn id="15" dur="750" fill="hold"/>
                                        <p:tgtEl>
                                          <p:spTgt spid="146"/>
                                        </p:tgtEl>
                                        <p:attrNameLst>
                                          <p:attrName>ppt_x</p:attrName>
                                        </p:attrNameLst>
                                      </p:cBhvr>
                                      <p:tavLst>
                                        <p:tav tm="0">
                                          <p:val>
                                            <p:strVal val="#ppt_x"/>
                                          </p:val>
                                        </p:tav>
                                        <p:tav tm="100000">
                                          <p:val>
                                            <p:strVal val="#ppt_x"/>
                                          </p:val>
                                        </p:tav>
                                      </p:tavLst>
                                    </p:anim>
                                    <p:anim calcmode="lin" valueType="num">
                                      <p:cBhvr additive="base">
                                        <p:cTn id="16" dur="750" fill="hold"/>
                                        <p:tgtEl>
                                          <p:spTgt spid="14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32"/>
                                        </p:tgtEl>
                                        <p:attrNameLst>
                                          <p:attrName>style.visibility</p:attrName>
                                        </p:attrNameLst>
                                      </p:cBhvr>
                                      <p:to>
                                        <p:strVal val="visible"/>
                                      </p:to>
                                    </p:set>
                                    <p:anim calcmode="lin" valueType="num">
                                      <p:cBhvr additive="base">
                                        <p:cTn id="19" dur="750" fill="hold"/>
                                        <p:tgtEl>
                                          <p:spTgt spid="132"/>
                                        </p:tgtEl>
                                        <p:attrNameLst>
                                          <p:attrName>ppt_x</p:attrName>
                                        </p:attrNameLst>
                                      </p:cBhvr>
                                      <p:tavLst>
                                        <p:tav tm="0">
                                          <p:val>
                                            <p:strVal val="#ppt_x"/>
                                          </p:val>
                                        </p:tav>
                                        <p:tav tm="100000">
                                          <p:val>
                                            <p:strVal val="#ppt_x"/>
                                          </p:val>
                                        </p:tav>
                                      </p:tavLst>
                                    </p:anim>
                                    <p:anim calcmode="lin" valueType="num">
                                      <p:cBhvr additive="base">
                                        <p:cTn id="20" dur="750" fill="hold"/>
                                        <p:tgtEl>
                                          <p:spTgt spid="132"/>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0"/>
                                  </p:stCondLst>
                                  <p:childTnLst>
                                    <p:set>
                                      <p:cBhvr>
                                        <p:cTn id="22" dur="1" fill="hold">
                                          <p:stCondLst>
                                            <p:cond delay="0"/>
                                          </p:stCondLst>
                                        </p:cTn>
                                        <p:tgtEl>
                                          <p:spTgt spid="112"/>
                                        </p:tgtEl>
                                        <p:attrNameLst>
                                          <p:attrName>style.visibility</p:attrName>
                                        </p:attrNameLst>
                                      </p:cBhvr>
                                      <p:to>
                                        <p:strVal val="visible"/>
                                      </p:to>
                                    </p:set>
                                    <p:anim calcmode="lin" valueType="num">
                                      <p:cBhvr additive="base">
                                        <p:cTn id="23" dur="750" fill="hold"/>
                                        <p:tgtEl>
                                          <p:spTgt spid="112"/>
                                        </p:tgtEl>
                                        <p:attrNameLst>
                                          <p:attrName>ppt_x</p:attrName>
                                        </p:attrNameLst>
                                      </p:cBhvr>
                                      <p:tavLst>
                                        <p:tav tm="0">
                                          <p:val>
                                            <p:strVal val="#ppt_x"/>
                                          </p:val>
                                        </p:tav>
                                        <p:tav tm="100000">
                                          <p:val>
                                            <p:strVal val="#ppt_x"/>
                                          </p:val>
                                        </p:tav>
                                      </p:tavLst>
                                    </p:anim>
                                    <p:anim calcmode="lin" valueType="num">
                                      <p:cBhvr additive="base">
                                        <p:cTn id="24" dur="750" fill="hold"/>
                                        <p:tgtEl>
                                          <p:spTgt spid="112"/>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250"/>
                                  </p:stCondLst>
                                  <p:childTnLst>
                                    <p:set>
                                      <p:cBhvr>
                                        <p:cTn id="26" dur="1" fill="hold">
                                          <p:stCondLst>
                                            <p:cond delay="0"/>
                                          </p:stCondLst>
                                        </p:cTn>
                                        <p:tgtEl>
                                          <p:spTgt spid="145"/>
                                        </p:tgtEl>
                                        <p:attrNameLst>
                                          <p:attrName>style.visibility</p:attrName>
                                        </p:attrNameLst>
                                      </p:cBhvr>
                                      <p:to>
                                        <p:strVal val="visible"/>
                                      </p:to>
                                    </p:set>
                                    <p:anim calcmode="lin" valueType="num">
                                      <p:cBhvr additive="base">
                                        <p:cTn id="27" dur="750" fill="hold"/>
                                        <p:tgtEl>
                                          <p:spTgt spid="145"/>
                                        </p:tgtEl>
                                        <p:attrNameLst>
                                          <p:attrName>ppt_x</p:attrName>
                                        </p:attrNameLst>
                                      </p:cBhvr>
                                      <p:tavLst>
                                        <p:tav tm="0">
                                          <p:val>
                                            <p:strVal val="#ppt_x"/>
                                          </p:val>
                                        </p:tav>
                                        <p:tav tm="100000">
                                          <p:val>
                                            <p:strVal val="#ppt_x"/>
                                          </p:val>
                                        </p:tav>
                                      </p:tavLst>
                                    </p:anim>
                                    <p:anim calcmode="lin" valueType="num">
                                      <p:cBhvr additive="base">
                                        <p:cTn id="28" dur="750" fill="hold"/>
                                        <p:tgtEl>
                                          <p:spTgt spid="145"/>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250"/>
                                  </p:stCondLst>
                                  <p:childTnLst>
                                    <p:set>
                                      <p:cBhvr>
                                        <p:cTn id="30" dur="1" fill="hold">
                                          <p:stCondLst>
                                            <p:cond delay="0"/>
                                          </p:stCondLst>
                                        </p:cTn>
                                        <p:tgtEl>
                                          <p:spTgt spid="114"/>
                                        </p:tgtEl>
                                        <p:attrNameLst>
                                          <p:attrName>style.visibility</p:attrName>
                                        </p:attrNameLst>
                                      </p:cBhvr>
                                      <p:to>
                                        <p:strVal val="visible"/>
                                      </p:to>
                                    </p:set>
                                    <p:anim calcmode="lin" valueType="num">
                                      <p:cBhvr additive="base">
                                        <p:cTn id="31" dur="750" fill="hold"/>
                                        <p:tgtEl>
                                          <p:spTgt spid="114"/>
                                        </p:tgtEl>
                                        <p:attrNameLst>
                                          <p:attrName>ppt_x</p:attrName>
                                        </p:attrNameLst>
                                      </p:cBhvr>
                                      <p:tavLst>
                                        <p:tav tm="0">
                                          <p:val>
                                            <p:strVal val="#ppt_x"/>
                                          </p:val>
                                        </p:tav>
                                        <p:tav tm="100000">
                                          <p:val>
                                            <p:strVal val="#ppt_x"/>
                                          </p:val>
                                        </p:tav>
                                      </p:tavLst>
                                    </p:anim>
                                    <p:anim calcmode="lin" valueType="num">
                                      <p:cBhvr additive="base">
                                        <p:cTn id="32" dur="750" fill="hold"/>
                                        <p:tgtEl>
                                          <p:spTgt spid="1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1" grpId="0" animBg="1"/>
      <p:bldP spid="112" grpId="0" animBg="1"/>
      <p:bldP spid="132" grpId="0" animBg="1"/>
      <p:bldP spid="145" grpId="0" animBg="1"/>
      <p:bldP spid="146" grpId="0" animBg="1"/>
      <p:bldP spid="1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coqKQCe7Ei8bU_gePXd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DYiQElJEkax7CybePBb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1NHlah85kmRBrOsl_a4Fw"/>
</p:tagLst>
</file>

<file path=ppt/tags/tag13.xml><?xml version="1.0" encoding="utf-8"?>
<p:tagLst xmlns:a="http://schemas.openxmlformats.org/drawingml/2006/main" xmlns:r="http://schemas.openxmlformats.org/officeDocument/2006/relationships" xmlns:p="http://schemas.openxmlformats.org/presentationml/2006/main">
  <p:tag name="FILLFORECOLOR" val="1948927"/>
  <p:tag name="FILLFORESCHEMECOLOR" val="5"/>
</p:tagLst>
</file>

<file path=ppt/tags/tag14.xml><?xml version="1.0" encoding="utf-8"?>
<p:tagLst xmlns:a="http://schemas.openxmlformats.org/drawingml/2006/main" xmlns:r="http://schemas.openxmlformats.org/officeDocument/2006/relationships" xmlns:p="http://schemas.openxmlformats.org/presentationml/2006/main">
  <p:tag name="FILLFORECOLOR" val="1948927"/>
  <p:tag name="FILLFORESCHEMECOLOR" val="5"/>
</p:tagLst>
</file>

<file path=ppt/tags/tag15.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16.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17.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18.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19.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gjO1vTqZEKXDTc4dp1n.w"/>
</p:tagLst>
</file>

<file path=ppt/tags/tag20.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21.xml><?xml version="1.0" encoding="utf-8"?>
<p:tagLst xmlns:a="http://schemas.openxmlformats.org/drawingml/2006/main" xmlns:r="http://schemas.openxmlformats.org/officeDocument/2006/relationships" xmlns:p="http://schemas.openxmlformats.org/presentationml/2006/main">
  <p:tag name="LINEFORECOLOR" val="8752281"/>
  <p:tag name="LINEFORESCHEMECOLOR" val="15"/>
</p:tagLst>
</file>

<file path=ppt/tags/tag22.xml><?xml version="1.0" encoding="utf-8"?>
<p:tagLst xmlns:a="http://schemas.openxmlformats.org/drawingml/2006/main" xmlns:r="http://schemas.openxmlformats.org/officeDocument/2006/relationships" xmlns:p="http://schemas.openxmlformats.org/presentationml/2006/main">
  <p:tag name="FILLFORECOLOR" val="1948927"/>
  <p:tag name="FILLFORESCHEMECOLOR" val="5"/>
</p:tagLst>
</file>

<file path=ppt/tags/tag23.xml><?xml version="1.0" encoding="utf-8"?>
<p:tagLst xmlns:a="http://schemas.openxmlformats.org/drawingml/2006/main" xmlns:r="http://schemas.openxmlformats.org/officeDocument/2006/relationships" xmlns:p="http://schemas.openxmlformats.org/presentationml/2006/main">
  <p:tag name="LINEFORECOLOR" val="9144453"/>
  <p:tag name="LINEFORESCHEMECOLOR" val="9"/>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5rP80fP7Y0qEj7jPc94p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6zma0Ir5C0.DL7UFA9o6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K557HVxl0KXG8AAiPa6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iMG8mxTzU.YcDmVK0X3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0wOyjf2QZEmBp47asWQg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KmnZeEygA0aiNTRdWFYc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yJaLBvaOUWVrgINuP12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nQ1uoLUWOE6eUX9lbapo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lXkzUEgntEysEJoW0wHk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3pWF5t7ESe4zbcWQLw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AcSvaWe9MkCJ7q6VTkGl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2VMdtIIiPEiRD7etbIjz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_swiiy4akku3Kv4Ok.SP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Q9svaeACmUKFV3gmDLTt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X0maI0VEMkuSjEs1j7D2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1gsWUDIXn0.7i3r8lkin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FQdHEgTT7k.Cx1aWrzKa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AH5tDt9aVEWLQGXwr4QN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4NoEY_j0ujITF4dG3.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n.M2.e0AQUyJsD8vmoTQ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iYkEEhkDD0.yuaIks_yZ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XDTY1ctECJE79oalXW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KGvHHpsEe9FUHSn.UW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5tYA_r3S2UaF7W17ofXB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Wq8HKkI1GEuvd01wHOOP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j64R1Kjy6062LGzUisOd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Uby1I38kHEihZze1Odx0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gjO1vTqZEKXDTc4dp1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ZLl9bJj5x0O4NmPB0i9r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8d1ozTOIP0aKQOuvKMWy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KdvRWsmT4kSpdT1V.8h5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5sQFFBT7YUCnjAabQDQS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Sr6ixNXNRESfl6cfAst18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5eCXbHBWLkqcY7z8U2411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RURCbTn0GTaOmxVes1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WG32Rg8FO0uRCQAgr5pr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VGz9jresw0SUxt9ftkS0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dtsJuJV.ekWbaL3ZTQOb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yJaLBvaOUWVrgINuP12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jNyMtBEkBE2ba.v5R6hx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nTDOQ1eSo06CfMEKCdd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VlWMHQT7O0Sj8KBPN8Lw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Zgv73yB9SUud9Q8Szt7j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0dGg1dX9i0a3OqYHPzo9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1ZCxoO6OVUOCARKygifZ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kCHICzCRJ0uxNKdChj0X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zo1YwiV_60Wo3smtntSU4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UtAeIU3..kWikyDmC6A9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G98PUOUJEkCz9MAybnYt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5fUu6qEULEmd7Q0UfNK9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1QU78qbTdE6ZznYKtN2s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MNXUxMYHUEmIxOJTAati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nitB7W39VEe0dpGBMWGo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JsDL4OypEaJd8M57J00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sQfPSpW0SwYLOhvIS6OQ"/>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Sogeti 16x9 Template 2014">
  <a:themeElements>
    <a:clrScheme name="Sogeti 2013">
      <a:dk1>
        <a:srgbClr val="000000"/>
      </a:dk1>
      <a:lt1>
        <a:srgbClr val="FFFFFF"/>
      </a:lt1>
      <a:dk2>
        <a:srgbClr val="FFCFC5"/>
      </a:dk2>
      <a:lt2>
        <a:srgbClr val="D2D2D2"/>
      </a:lt2>
      <a:accent1>
        <a:srgbClr val="FF4019"/>
      </a:accent1>
      <a:accent2>
        <a:srgbClr val="474030"/>
      </a:accent2>
      <a:accent3>
        <a:srgbClr val="FF9F8C"/>
      </a:accent3>
      <a:accent4>
        <a:srgbClr val="A39F97"/>
      </a:accent4>
      <a:accent5>
        <a:srgbClr val="FF7053"/>
      </a:accent5>
      <a:accent6>
        <a:srgbClr val="757064"/>
      </a:accent6>
      <a:hlink>
        <a:srgbClr val="6A2C91"/>
      </a:hlink>
      <a:folHlink>
        <a:srgbClr val="850C7A"/>
      </a:folHlink>
    </a:clrScheme>
    <a:fontScheme name="Sogeti 201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none" lIns="36000" tIns="36000" rIns="36000" bIns="36000" rtlCol="0">
        <a:noAutofit/>
      </a:bodyPr>
      <a:lstStyle>
        <a:defPPr>
          <a:lnSpc>
            <a:spcPts val="2400"/>
          </a:lnSpc>
          <a:defRPr dirty="0" err="1" smtClean="0"/>
        </a:defPPr>
      </a:lstStyle>
    </a:txDef>
  </a:objectDefaults>
  <a:extraClrSchemeLst/>
</a:theme>
</file>

<file path=ppt/theme/theme11.xml><?xml version="1.0" encoding="utf-8"?>
<a:theme xmlns:a="http://schemas.openxmlformats.org/drawingml/2006/main" name="Office Theme">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055_Lync Template 2012 - 16x9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3.xml><?xml version="1.0" encoding="utf-8"?>
<a:theme xmlns:a="http://schemas.openxmlformats.org/drawingml/2006/main" name="17_5-30055_Lync Template 2012 - 16x9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4.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5-30055_Lync Template 2012 - 16x9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6.xml><?xml version="1.0" encoding="utf-8"?>
<a:theme xmlns:a="http://schemas.openxmlformats.org/drawingml/2006/main" name="7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Custom 17">
      <a:majorFont>
        <a:latin typeface="Segoe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7.xml><?xml version="1.0" encoding="utf-8"?>
<a:theme xmlns:a="http://schemas.openxmlformats.org/drawingml/2006/main" name="8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Custom 17">
      <a:majorFont>
        <a:latin typeface="Segoe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8.xml><?xml version="1.0" encoding="utf-8"?>
<a:theme xmlns:a="http://schemas.openxmlformats.org/drawingml/2006/main" name="2_5-30055_Lync Template 2012 - 16x9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9.xml><?xml version="1.0" encoding="utf-8"?>
<a:theme xmlns:a="http://schemas.openxmlformats.org/drawingml/2006/main" name="Field Deck Theme v3">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 Deck Theme v3" id="{80C81591-6ABD-4715-AA06-FD02E9438C60}" vid="{D1B15CD4-8343-4140-9052-BAFA8AF7B47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9FCD98692C14C4DBD73F00FB9B903EC" ma:contentTypeVersion="2" ma:contentTypeDescription="Create a new document." ma:contentTypeScope="" ma:versionID="b7b147dba797d3f67407f8aeb78db361">
  <xsd:schema xmlns:xsd="http://www.w3.org/2001/XMLSchema" xmlns:xs="http://www.w3.org/2001/XMLSchema" xmlns:p="http://schemas.microsoft.com/office/2006/metadata/properties" xmlns:ns2="f53c58c0-9b98-4450-89a0-26d0a7d390e3" targetNamespace="http://schemas.microsoft.com/office/2006/metadata/properties" ma:root="true" ma:fieldsID="a13e3e68b03e53c9af1254add71b86bb" ns2:_="">
    <xsd:import namespace="f53c58c0-9b98-4450-89a0-26d0a7d390e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3c58c0-9b98-4450-89a0-26d0a7d390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CBA652-9AD4-4145-A582-DEB9810C87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3c58c0-9b98-4450-89a0-26d0a7d390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862B8D-B379-4CB2-B2CA-D1B9FC1F3F71}">
  <ds:schemaRefs>
    <ds:schemaRef ds:uri="http://schemas.microsoft.com/office/2006/documentManagement/types"/>
    <ds:schemaRef ds:uri="http://purl.org/dc/dcmitype/"/>
    <ds:schemaRef ds:uri="http://schemas.openxmlformats.org/package/2006/metadata/core-properties"/>
    <ds:schemaRef ds:uri="http://www.w3.org/XML/1998/namespace"/>
    <ds:schemaRef ds:uri="f53c58c0-9b98-4450-89a0-26d0a7d390e3"/>
    <ds:schemaRef ds:uri="http://schemas.microsoft.com/office/infopath/2007/PartnerControls"/>
    <ds:schemaRef ds:uri="http://purl.org/dc/term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6671310C-2397-4D04-9178-9F6EC799ED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Y15 EPG Presentation Template_External_16x9_Light</Template>
  <TotalTime>0</TotalTime>
  <Words>1926</Words>
  <Application>Microsoft Office PowerPoint</Application>
  <PresentationFormat>Custom</PresentationFormat>
  <Paragraphs>391</Paragraphs>
  <Slides>35</Slides>
  <Notes>27</Notes>
  <HiddenSlides>3</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35</vt:i4>
      </vt:variant>
    </vt:vector>
  </HeadingPairs>
  <TitlesOfParts>
    <vt:vector size="61" baseType="lpstr">
      <vt:lpstr>ＭＳ Ｐゴシック</vt:lpstr>
      <vt:lpstr>Arial</vt:lpstr>
      <vt:lpstr>Bodoni MT</vt:lpstr>
      <vt:lpstr>Bodoni Std Bold Italic</vt:lpstr>
      <vt:lpstr>Calibri</vt:lpstr>
      <vt:lpstr>Century Gothic</vt:lpstr>
      <vt:lpstr>Courier New</vt:lpstr>
      <vt:lpstr>Segoe UI</vt:lpstr>
      <vt:lpstr>Segoe UI Black</vt:lpstr>
      <vt:lpstr>Segoe UI Light</vt:lpstr>
      <vt:lpstr>Segoe UI Semibold</vt:lpstr>
      <vt:lpstr>Segoe UI Semilight</vt:lpstr>
      <vt:lpstr>Times New Roman</vt:lpstr>
      <vt:lpstr>Wingdings</vt:lpstr>
      <vt:lpstr>Wingdings 3</vt:lpstr>
      <vt:lpstr>FY15 Enterprise identity theme</vt:lpstr>
      <vt:lpstr>5-30055_Lync Template 2012 - 16x9 - White Background</vt:lpstr>
      <vt:lpstr>17_5-30055_Lync Template 2012 - 16x9 - White Background</vt:lpstr>
      <vt:lpstr>1_FY15 Enterprise identity theme</vt:lpstr>
      <vt:lpstr>1_5-30055_Lync Template 2012 - 16x9 - White Background</vt:lpstr>
      <vt:lpstr>7_WPC2010_breakout_arcguide[1]</vt:lpstr>
      <vt:lpstr>8_WPC2010_breakout_arcguide[1]</vt:lpstr>
      <vt:lpstr>2_5-30055_Lync Template 2012 - 16x9 - White Background</vt:lpstr>
      <vt:lpstr>Field Deck Theme v3</vt:lpstr>
      <vt:lpstr>Sogeti 16x9 Template 2014</vt:lpstr>
      <vt:lpstr>think-cell Slide</vt:lpstr>
      <vt:lpstr>PowerPoint Presentation</vt:lpstr>
      <vt:lpstr>Wat is GDPR/AVG?</vt:lpstr>
      <vt:lpstr>Het recht van de EU inwoner</vt:lpstr>
      <vt:lpstr>PII (Personal Identifiable Information)</vt:lpstr>
      <vt:lpstr>De plicht voor de organisatie</vt:lpstr>
      <vt:lpstr>Data verwerking</vt:lpstr>
      <vt:lpstr>GDPR uitdagingen</vt:lpstr>
      <vt:lpstr>GDPR en Microsoft</vt:lpstr>
      <vt:lpstr>Waar gaan wij het over hebben?</vt:lpstr>
      <vt:lpstr>Identity</vt:lpstr>
      <vt:lpstr>Identity Protection</vt:lpstr>
      <vt:lpstr>Demo</vt:lpstr>
      <vt:lpstr>Device</vt:lpstr>
      <vt:lpstr>Device - Intune</vt:lpstr>
      <vt:lpstr>Device &amp; data</vt:lpstr>
      <vt:lpstr>Demo</vt:lpstr>
      <vt:lpstr>Access control</vt:lpstr>
      <vt:lpstr>Access control</vt:lpstr>
      <vt:lpstr>Demo</vt:lpstr>
      <vt:lpstr>3rd party SaaS &amp; data – Cloud App Security</vt:lpstr>
      <vt:lpstr>3rd party SaaS &amp; data – Proxy</vt:lpstr>
      <vt:lpstr>Demo</vt:lpstr>
      <vt:lpstr>Data governance</vt:lpstr>
      <vt:lpstr>Data governance labels</vt:lpstr>
      <vt:lpstr>Demo</vt:lpstr>
      <vt:lpstr>Wanneer toegepast?</vt:lpstr>
      <vt:lpstr>Data loss prevention</vt:lpstr>
      <vt:lpstr>Demo</vt:lpstr>
      <vt:lpstr>Azure Information Protection</vt:lpstr>
      <vt:lpstr>Classificeer, label en bescherm</vt:lpstr>
      <vt:lpstr>Demo</vt:lpstr>
      <vt:lpstr>Automatiseren</vt:lpstr>
      <vt:lpstr>Office 365 en AzureIP </vt:lpstr>
      <vt:lpstr>Kortom</vt:lpstr>
      <vt:lpstr>Disco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ivity in Manufacturing and Resources</dc:title>
  <dc:creator/>
  <cp:keywords/>
  <cp:lastModifiedBy/>
  <cp:revision>2</cp:revision>
  <dcterms:created xsi:type="dcterms:W3CDTF">2014-09-25T20:23:47Z</dcterms:created>
  <dcterms:modified xsi:type="dcterms:W3CDTF">2018-01-18T15:3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rder">
    <vt:r8>13574400</vt:r8>
  </property>
  <property fmtid="{D5CDD505-2E9C-101B-9397-08002B2CF9AE}" pid="4" name="Capabilities">
    <vt:lpwstr/>
  </property>
  <property fmtid="{D5CDD505-2E9C-101B-9397-08002B2CF9AE}" pid="5" name="_dlc_policyId">
    <vt:lpwstr/>
  </property>
  <property fmtid="{D5CDD505-2E9C-101B-9397-08002B2CF9AE}" pid="6" name="Region">
    <vt:lpwstr/>
  </property>
  <property fmtid="{D5CDD505-2E9C-101B-9397-08002B2CF9AE}" pid="7" name="Confidentiality">
    <vt:lpwstr>38;#customer ready|8986c41d-21c5-4f8f-8a12-ea4625b46858</vt:lpwstr>
  </property>
  <property fmtid="{D5CDD505-2E9C-101B-9397-08002B2CF9AE}" pid="8" name="ItemType">
    <vt:lpwstr>45;#presentations|317da5a4-398e-4c38-b265-afd519770055;#32;#feedback requests|00ce1828-98a3-430e-af54-eda270e1be04</vt:lpwstr>
  </property>
  <property fmtid="{D5CDD505-2E9C-101B-9397-08002B2CF9AE}" pid="9" name="ContentTypeId">
    <vt:lpwstr>0x01010059FCD98692C14C4DBD73F00FB9B903EC</vt:lpwstr>
  </property>
  <property fmtid="{D5CDD505-2E9C-101B-9397-08002B2CF9AE}" pid="10" name="WorkflowCreationPath">
    <vt:lpwstr>b84d296b-0eb7-4c23-b0e9-187131f037bd,3;a2444f68-e94d-4cad-9dda-8c5779e7fca4,29;a2444f68-e94d-4cad-9dda-8c5779e7fca4,36;a2444f68-e94d-4cad-9dda-8c5779e7fca4,39;d3765c0c-e2b5-4307-934b-d5d862e93ab3,53;d3765c0c-e2b5-4307-934b-d5d862e93ab3,63;</vt:lpwstr>
  </property>
  <property fmtid="{D5CDD505-2E9C-101B-9397-08002B2CF9AE}" pid="11" name="Industries">
    <vt:lpwstr>368;#financial services sector|b538d45a-5f3b-4c47-9c69-37273fafe895;#502;#banking and capital markets industry|d0dd4449-7982-4555-91de-85c77bb38cdb;#349;#retail, consumer products and services sector|9ae6ef23-8d8a-476f-aa52-b499c395f362;#348;#communicatio</vt:lpwstr>
  </property>
  <property fmtid="{D5CDD505-2E9C-101B-9397-08002B2CF9AE}" pid="12" name="Roles">
    <vt:lpwstr>56;#Sales|72627068-acd7-4c1a-8b95-a0256be5dc9f;#125;#Solution Sales|170353c6-5135-48bf-b60a-c3b55ac67d1c;#129;#Account Executive|9d2867fe-4a32-e111-927a-acdc9d396bdb</vt:lpwstr>
  </property>
  <property fmtid="{D5CDD505-2E9C-101B-9397-08002B2CF9AE}" pid="13" name="SMSGDomain">
    <vt:lpwstr>19;#Microsoft Office Division|998d7cd0-7f52-4d06-a505-529ce4856340;#21;#Office 365 Domain|bcf4282b-a4aa-4d07-aae2-48a9bafb3146;#40;#Public Sector Domain|4a30387b-538a-401d-a52e-c8859ed72771;#50;#Sales, Marketing, Services Group|ecda8836-afa0-40aa-878e-630</vt:lpwstr>
  </property>
  <property fmtid="{D5CDD505-2E9C-101B-9397-08002B2CF9AE}" pid="14" name="Competitors">
    <vt:lpwstr/>
  </property>
  <property fmtid="{D5CDD505-2E9C-101B-9397-08002B2CF9AE}" pid="15" name="ItemRetentionFormula">
    <vt:lpwstr/>
  </property>
  <property fmtid="{D5CDD505-2E9C-101B-9397-08002B2CF9AE}" pid="16" name="BusinessArchitecture">
    <vt:lpwstr>276;#Government Workplace Modernization|13e0d0fb-369c-4cd7-97d4-ba5923d4fc7a;#59;#Microsoft solution areas|c469a396-9286-43a4-a826-6e5559b48bb4;#473;#Industry Priority Solution Areas|da519620-339e-4f67-a536-a8e3db635296</vt:lpwstr>
  </property>
  <property fmtid="{D5CDD505-2E9C-101B-9397-08002B2CF9AE}" pid="17" name="SMSGTags">
    <vt:lpwstr/>
  </property>
  <property fmtid="{D5CDD505-2E9C-101B-9397-08002B2CF9AE}" pid="18" name="Products">
    <vt:lpwstr>34;#Office 365|79b3b58e-e806-4c92-b1ab-8c086f06098a;#172;#Microsoft Office 365 ProPlus|35342704-bc00-46f9-a2cd-9772cfc782b9</vt:lpwstr>
  </property>
  <property fmtid="{D5CDD505-2E9C-101B-9397-08002B2CF9AE}" pid="19" name="_dlc_DocIdItemGuid">
    <vt:lpwstr>e8bfb0df-fb07-4acb-802a-00fa2afaf6ab</vt:lpwstr>
  </property>
  <property fmtid="{D5CDD505-2E9C-101B-9397-08002B2CF9AE}" pid="20" name="EnterpriseDomainTags">
    <vt:lpwstr/>
  </property>
  <property fmtid="{D5CDD505-2E9C-101B-9397-08002B2CF9AE}" pid="21" name="Partners">
    <vt:lpwstr/>
  </property>
  <property fmtid="{D5CDD505-2E9C-101B-9397-08002B2CF9AE}" pid="22" name="Segments">
    <vt:lpwstr>49;#Enterprise and Partner Group|b6e10940-8c6c-40cf-9dc4-c224c7da837a</vt:lpwstr>
  </property>
  <property fmtid="{D5CDD505-2E9C-101B-9397-08002B2CF9AE}" pid="23" name="ActivitiesAndPrograms">
    <vt:lpwstr>503;#Productivity and Social|d09d57e8-c75a-40f9-9e55-32703397a523</vt:lpwstr>
  </property>
  <property fmtid="{D5CDD505-2E9C-101B-9397-08002B2CF9AE}" pid="24" name="WorkflowChangePath">
    <vt:lpwstr>d3765c0c-e2b5-4307-934b-d5d862e93ab3,66;d3765c0c-e2b5-4307-934b-d5d862e93ab3,66;d3765c0c-e2b5-4307-934b-d5d862e93ab3,70;d3765c0c-e2b5-4307-934b-d5d862e93ab3,70;d779f5e8-bb23-40fa-a1a5-97eb63737902,80;d779f5e8-bb23-40fa-a1a5-97eb63737902,86;d779f5e8-bb23-4</vt:lpwstr>
  </property>
  <property fmtid="{D5CDD505-2E9C-101B-9397-08002B2CF9AE}" pid="25" name="Groups">
    <vt:lpwstr>58;#Office Marketing Group|a07bee86-ad38-44ef-877b-5c34e894c7ed;#165;#Enterprise and Partner Group|b6e10940-8c6c-40cf-9dc4-c224c7da837a;#35;#Office Technical Product Marketing|16ddb889-3b91-489d-80f8-c96b7caf7099;#43;#Worldwide Readiness|c6595b84-b463-470</vt:lpwstr>
  </property>
  <property fmtid="{D5CDD505-2E9C-101B-9397-08002B2CF9AE}" pid="26" name="Topics">
    <vt:lpwstr>26;#hub subset|c6bfd112-b986-4a0a-aa8d-90e767bfdfa6</vt:lpwstr>
  </property>
  <property fmtid="{D5CDD505-2E9C-101B-9397-08002B2CF9AE}" pid="27" name="EnterpriseDomainTagsTaxHTField0">
    <vt:lpwstr/>
  </property>
  <property fmtid="{D5CDD505-2E9C-101B-9397-08002B2CF9AE}" pid="28" name="LastUpdatedByBatchTagging">
    <vt:bool>true</vt:bool>
  </property>
  <property fmtid="{D5CDD505-2E9C-101B-9397-08002B2CF9AE}" pid="29" name="Languages">
    <vt:lpwstr/>
  </property>
  <property fmtid="{D5CDD505-2E9C-101B-9397-08002B2CF9AE}" pid="30" name="_docset_NoMedatataSyncRequired">
    <vt:lpwstr>False</vt:lpwstr>
  </property>
  <property fmtid="{D5CDD505-2E9C-101B-9397-08002B2CF9AE}" pid="31" name="messageframeworktype">
    <vt:lpwstr/>
  </property>
  <property fmtid="{D5CDD505-2E9C-101B-9397-08002B2CF9AE}" pid="32" name="SMSGTagsTaxHTField0">
    <vt:lpwstr/>
  </property>
  <property fmtid="{D5CDD505-2E9C-101B-9397-08002B2CF9AE}" pid="33" name="Audiences">
    <vt:lpwstr/>
  </property>
  <property fmtid="{D5CDD505-2E9C-101B-9397-08002B2CF9AE}" pid="34" name="IsMyDocuments">
    <vt:bool>true</vt:bool>
  </property>
  <property fmtid="{D5CDD505-2E9C-101B-9397-08002B2CF9AE}" pid="35" name="p1cd454bacc149bfbcfd764edd279de7">
    <vt:lpwstr/>
  </property>
  <property fmtid="{D5CDD505-2E9C-101B-9397-08002B2CF9AE}" pid="36" name="bc28b5f076654a3b96073bbbebfeb8c9">
    <vt:lpwstr/>
  </property>
  <property fmtid="{D5CDD505-2E9C-101B-9397-08002B2CF9AE}" pid="37" name="j4d667fb28274e85b2214f6e751c8d1f">
    <vt:lpwstr/>
  </property>
  <property fmtid="{D5CDD505-2E9C-101B-9397-08002B2CF9AE}" pid="38" name="MSProducts">
    <vt:lpwstr/>
  </property>
  <property fmtid="{D5CDD505-2E9C-101B-9397-08002B2CF9AE}" pid="39" name="m6d26e40ac264097a006193f92232ece">
    <vt:lpwstr/>
  </property>
  <property fmtid="{D5CDD505-2E9C-101B-9397-08002B2CF9AE}" pid="40" name="j031aa32f4154c8c9a646efae715ebde">
    <vt:lpwstr/>
  </property>
  <property fmtid="{D5CDD505-2E9C-101B-9397-08002B2CF9AE}" pid="41" name="l311460e3fdf46688abc31ddb7bdc05a">
    <vt:lpwstr/>
  </property>
  <property fmtid="{D5CDD505-2E9C-101B-9397-08002B2CF9AE}" pid="42" name="la4444b61d19467597d63190b69ac227">
    <vt:lpwstr/>
  </property>
  <property fmtid="{D5CDD505-2E9C-101B-9397-08002B2CF9AE}" pid="43" name="MSProductsTaxHTField0">
    <vt:lpwstr/>
  </property>
  <property fmtid="{D5CDD505-2E9C-101B-9397-08002B2CF9AE}" pid="44" name="MSLanguage">
    <vt:lpwstr/>
  </property>
  <property fmtid="{D5CDD505-2E9C-101B-9397-08002B2CF9AE}" pid="45" name="cb7870d3641f4a52807a63577a9c1b08">
    <vt:lpwstr/>
  </property>
  <property fmtid="{D5CDD505-2E9C-101B-9397-08002B2CF9AE}" pid="46" name="TechnicalLevel">
    <vt:lpwstr/>
  </property>
  <property fmtid="{D5CDD505-2E9C-101B-9397-08002B2CF9AE}" pid="47" name="LearningOrganization">
    <vt:lpwstr/>
  </property>
  <property fmtid="{D5CDD505-2E9C-101B-9397-08002B2CF9AE}" pid="48" name="EmployeeRole">
    <vt:lpwstr/>
  </property>
  <property fmtid="{D5CDD505-2E9C-101B-9397-08002B2CF9AE}" pid="49" name="LearningDeliveryMethod">
    <vt:lpwstr/>
  </property>
  <property fmtid="{D5CDD505-2E9C-101B-9397-08002B2CF9AE}" pid="50" name="SalesGeography">
    <vt:lpwstr/>
  </property>
  <property fmtid="{D5CDD505-2E9C-101B-9397-08002B2CF9AE}" pid="51" name="of67e5d4b76f4a9db8769983fda9cec0">
    <vt:lpwstr/>
  </property>
  <property fmtid="{D5CDD505-2E9C-101B-9397-08002B2CF9AE}" pid="52" name="NewsType">
    <vt:lpwstr/>
  </property>
  <property fmtid="{D5CDD505-2E9C-101B-9397-08002B2CF9AE}" pid="53" name="ga0c0bf70a6644469c61b3efa7025301">
    <vt:lpwstr/>
  </property>
  <property fmtid="{D5CDD505-2E9C-101B-9397-08002B2CF9AE}" pid="54" name="ExperienceContentType">
    <vt:lpwstr/>
  </property>
  <property fmtid="{D5CDD505-2E9C-101B-9397-08002B2CF9AE}" pid="55" name="ContentExtensions">
    <vt:lpwstr/>
  </property>
  <property fmtid="{D5CDD505-2E9C-101B-9397-08002B2CF9AE}" pid="56" name="l6f004f21209409da86a713c0f24627d">
    <vt:lpwstr/>
  </property>
  <property fmtid="{D5CDD505-2E9C-101B-9397-08002B2CF9AE}" pid="57" name="e8080b0481964c759b2c36ae49591b31">
    <vt:lpwstr/>
  </property>
  <property fmtid="{D5CDD505-2E9C-101B-9397-08002B2CF9AE}" pid="58" name="ldac8aee9d1f469e8cd8c3f8d6a615f2">
    <vt:lpwstr/>
  </property>
  <property fmtid="{D5CDD505-2E9C-101B-9397-08002B2CF9AE}" pid="59" name="NewsTopic">
    <vt:lpwstr/>
  </property>
  <property fmtid="{D5CDD505-2E9C-101B-9397-08002B2CF9AE}" pid="60" name="NewsSource">
    <vt:lpwstr/>
  </property>
  <property fmtid="{D5CDD505-2E9C-101B-9397-08002B2CF9AE}" pid="61" name="MSPhysicalGeography">
    <vt:lpwstr/>
  </property>
  <property fmtid="{D5CDD505-2E9C-101B-9397-08002B2CF9AE}" pid="62" name="j3562c58ee414e028925bc902cfc01a1">
    <vt:lpwstr/>
  </property>
  <property fmtid="{D5CDD505-2E9C-101B-9397-08002B2CF9AE}" pid="63" name="SharedWithUsers">
    <vt:lpwstr>10061;#Atul Totre;#6666;#Chi Hun Song</vt:lpwstr>
  </property>
  <property fmtid="{D5CDD505-2E9C-101B-9397-08002B2CF9AE}" pid="64" name="DSWF">
    <vt:lpwstr>, </vt:lpwstr>
  </property>
  <property fmtid="{D5CDD505-2E9C-101B-9397-08002B2CF9AE}" pid="65" name="MSIP_Label_395dbdde-49ec-4c1f-962e-487061a4486c_Enabled">
    <vt:lpwstr>False</vt:lpwstr>
  </property>
  <property fmtid="{D5CDD505-2E9C-101B-9397-08002B2CF9AE}" pid="66" name="MSIP_Label_395dbdde-49ec-4c1f-962e-487061a4486c_SiteId">
    <vt:lpwstr>969fed70-1dc6-46b5-be46-e6642f169536</vt:lpwstr>
  </property>
  <property fmtid="{D5CDD505-2E9C-101B-9397-08002B2CF9AE}" pid="67" name="MSIP_Label_395dbdde-49ec-4c1f-962e-487061a4486c_Owner">
    <vt:lpwstr>Demo_AIP@alberthoitingh.onmicrosoft.com</vt:lpwstr>
  </property>
  <property fmtid="{D5CDD505-2E9C-101B-9397-08002B2CF9AE}" pid="68" name="MSIP_Label_395dbdde-49ec-4c1f-962e-487061a4486c_SetDate">
    <vt:lpwstr>2018-01-12T12:00:29.3409232Z</vt:lpwstr>
  </property>
  <property fmtid="{D5CDD505-2E9C-101B-9397-08002B2CF9AE}" pid="69" name="MSIP_Label_395dbdde-49ec-4c1f-962e-487061a4486c_Name">
    <vt:lpwstr>GDPR - PII</vt:lpwstr>
  </property>
  <property fmtid="{D5CDD505-2E9C-101B-9397-08002B2CF9AE}" pid="70" name="MSIP_Label_395dbdde-49ec-4c1f-962e-487061a4486c_Application">
    <vt:lpwstr>Microsoft Azure Information Protection</vt:lpwstr>
  </property>
  <property fmtid="{D5CDD505-2E9C-101B-9397-08002B2CF9AE}" pid="71" name="MSIP_Label_395dbdde-49ec-4c1f-962e-487061a4486c_Extended_MSFT_Method">
    <vt:lpwstr>Manual</vt:lpwstr>
  </property>
  <property fmtid="{D5CDD505-2E9C-101B-9397-08002B2CF9AE}" pid="72" name="MSIP_Label_3ee7a40b-d165-426d-b573-d41b1157ebe7_Enabled">
    <vt:lpwstr>False</vt:lpwstr>
  </property>
  <property fmtid="{D5CDD505-2E9C-101B-9397-08002B2CF9AE}" pid="73" name="MSIP_Label_3ee7a40b-d165-426d-b573-d41b1157ebe7_SiteId">
    <vt:lpwstr>969fed70-1dc6-46b5-be46-e6642f169536</vt:lpwstr>
  </property>
  <property fmtid="{D5CDD505-2E9C-101B-9397-08002B2CF9AE}" pid="74" name="MSIP_Label_3ee7a40b-d165-426d-b573-d41b1157ebe7_Owner">
    <vt:lpwstr>Demo_AIP@alberthoitingh.onmicrosoft.com</vt:lpwstr>
  </property>
  <property fmtid="{D5CDD505-2E9C-101B-9397-08002B2CF9AE}" pid="75" name="MSIP_Label_3ee7a40b-d165-426d-b573-d41b1157ebe7_SetDate">
    <vt:lpwstr>2018-01-12T12:00:29.3409232Z</vt:lpwstr>
  </property>
  <property fmtid="{D5CDD505-2E9C-101B-9397-08002B2CF9AE}" pid="76" name="MSIP_Label_3ee7a40b-d165-426d-b573-d41b1157ebe7_Name">
    <vt:lpwstr>IBAN</vt:lpwstr>
  </property>
  <property fmtid="{D5CDD505-2E9C-101B-9397-08002B2CF9AE}" pid="77" name="MSIP_Label_3ee7a40b-d165-426d-b573-d41b1157ebe7_Application">
    <vt:lpwstr>Microsoft Azure Information Protection</vt:lpwstr>
  </property>
  <property fmtid="{D5CDD505-2E9C-101B-9397-08002B2CF9AE}" pid="78" name="MSIP_Label_3ee7a40b-d165-426d-b573-d41b1157ebe7_Parent">
    <vt:lpwstr>395dbdde-49ec-4c1f-962e-487061a4486c</vt:lpwstr>
  </property>
  <property fmtid="{D5CDD505-2E9C-101B-9397-08002B2CF9AE}" pid="79" name="MSIP_Label_3ee7a40b-d165-426d-b573-d41b1157ebe7_Extended_MSFT_Method">
    <vt:lpwstr>Manual</vt:lpwstr>
  </property>
</Properties>
</file>